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1" r:id="rId4"/>
  </p:sldMasterIdLst>
  <p:notesMasterIdLst>
    <p:notesMasterId r:id="rId10"/>
  </p:notesMasterIdLst>
  <p:sldIdLst>
    <p:sldId id="256" r:id="rId5"/>
    <p:sldId id="257" r:id="rId6"/>
    <p:sldId id="259" r:id="rId7"/>
    <p:sldId id="261" r:id="rId8"/>
    <p:sldId id="263" r:id="rId9"/>
  </p:sldIdLst>
  <p:sldSz cx="12192000" cy="6858000"/>
  <p:notesSz cx="6858000" cy="9144000"/>
  <p:defaultTextStyle>
    <a:defPPr>
      <a:defRPr lang="en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6E6E6"/>
    <a:srgbClr val="A4D67D"/>
    <a:srgbClr val="517A16"/>
    <a:srgbClr val="2B71A8"/>
    <a:srgbClr val="63883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12C5941-31AF-467C-83EC-A20447065B1F}" v="498" dt="2024-03-20T23:40:09.073"/>
    <p1510:client id="{18204BCC-4C04-484F-A6BB-EDB3E1F86A45}" v="2420" dt="2024-03-20T14:28:08.284"/>
    <p1510:client id="{67B70ED3-061D-BE45-A7FB-7C4E1A7C3351}" v="71" dt="2024-03-21T13:57:53.215"/>
    <p1510:client id="{CE42C183-9C60-43BB-AE19-0A61CD7184D8}" v="592" dt="2024-03-21T13:00:55.894"/>
    <p1510:client id="{CECD14D4-8122-FF41-8F71-4EA1E5937E65}" v="57" dt="2024-03-20T23:43:45.76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microsoft.com/office/2016/11/relationships/changesInfo" Target="changesInfos/changesInfo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ozak, Leon" userId="747f0a73-5ce8-44b6-ab35-65f2092c04ab" providerId="ADAL" clId="{D0DD3573-A637-5D49-9370-573DFDBCE708}"/>
    <pc:docChg chg="undo custSel modSld">
      <pc:chgData name="Kozak, Leon" userId="747f0a73-5ce8-44b6-ab35-65f2092c04ab" providerId="ADAL" clId="{D0DD3573-A637-5D49-9370-573DFDBCE708}" dt="2024-03-19T16:18:56.934" v="1449" actId="113"/>
      <pc:docMkLst>
        <pc:docMk/>
      </pc:docMkLst>
      <pc:sldChg chg="addSp modSp mod">
        <pc:chgData name="Kozak, Leon" userId="747f0a73-5ce8-44b6-ab35-65f2092c04ab" providerId="ADAL" clId="{D0DD3573-A637-5D49-9370-573DFDBCE708}" dt="2024-03-19T14:51:46.866" v="156" actId="20577"/>
        <pc:sldMkLst>
          <pc:docMk/>
          <pc:sldMk cId="3252490408" sldId="256"/>
        </pc:sldMkLst>
        <pc:spChg chg="mod">
          <ac:chgData name="Kozak, Leon" userId="747f0a73-5ce8-44b6-ab35-65f2092c04ab" providerId="ADAL" clId="{D0DD3573-A637-5D49-9370-573DFDBCE708}" dt="2024-03-19T14:51:46.866" v="156" actId="20577"/>
          <ac:spMkLst>
            <pc:docMk/>
            <pc:sldMk cId="3252490408" sldId="256"/>
            <ac:spMk id="2" creationId="{5F3EC0EE-B9C5-2F98-3E69-DB5C91588824}"/>
          </ac:spMkLst>
        </pc:spChg>
        <pc:spChg chg="mod">
          <ac:chgData name="Kozak, Leon" userId="747f0a73-5ce8-44b6-ab35-65f2092c04ab" providerId="ADAL" clId="{D0DD3573-A637-5D49-9370-573DFDBCE708}" dt="2024-03-19T14:51:21.479" v="107" actId="14100"/>
          <ac:spMkLst>
            <pc:docMk/>
            <pc:sldMk cId="3252490408" sldId="256"/>
            <ac:spMk id="3" creationId="{EE1DD93C-5885-8408-D17A-8CB610B2FF9E}"/>
          </ac:spMkLst>
        </pc:spChg>
        <pc:spChg chg="add mod">
          <ac:chgData name="Kozak, Leon" userId="747f0a73-5ce8-44b6-ab35-65f2092c04ab" providerId="ADAL" clId="{D0DD3573-A637-5D49-9370-573DFDBCE708}" dt="2024-03-19T14:51:28.014" v="109"/>
          <ac:spMkLst>
            <pc:docMk/>
            <pc:sldMk cId="3252490408" sldId="256"/>
            <ac:spMk id="4" creationId="{45B23A0F-49F9-BC5E-6884-AC9FA9C9DE87}"/>
          </ac:spMkLst>
        </pc:spChg>
      </pc:sldChg>
      <pc:sldChg chg="addSp delSp modSp mod">
        <pc:chgData name="Kozak, Leon" userId="747f0a73-5ce8-44b6-ab35-65f2092c04ab" providerId="ADAL" clId="{D0DD3573-A637-5D49-9370-573DFDBCE708}" dt="2024-03-19T15:58:29.832" v="1206" actId="14100"/>
        <pc:sldMkLst>
          <pc:docMk/>
          <pc:sldMk cId="3234336945" sldId="257"/>
        </pc:sldMkLst>
        <pc:spChg chg="add del mod">
          <ac:chgData name="Kozak, Leon" userId="747f0a73-5ce8-44b6-ab35-65f2092c04ab" providerId="ADAL" clId="{D0DD3573-A637-5D49-9370-573DFDBCE708}" dt="2024-03-19T15:20:39.447" v="756" actId="478"/>
          <ac:spMkLst>
            <pc:docMk/>
            <pc:sldMk cId="3234336945" sldId="257"/>
            <ac:spMk id="2" creationId="{C3FA4286-A8F4-BAA8-AF6E-4FFFE091CD80}"/>
          </ac:spMkLst>
        </pc:spChg>
        <pc:spChg chg="add mod">
          <ac:chgData name="Kozak, Leon" userId="747f0a73-5ce8-44b6-ab35-65f2092c04ab" providerId="ADAL" clId="{D0DD3573-A637-5D49-9370-573DFDBCE708}" dt="2024-03-19T15:55:32.684" v="1161" actId="2711"/>
          <ac:spMkLst>
            <pc:docMk/>
            <pc:sldMk cId="3234336945" sldId="257"/>
            <ac:spMk id="2" creationId="{F60F1B1F-8F46-F2B1-D706-A14C145DA2EE}"/>
          </ac:spMkLst>
        </pc:spChg>
        <pc:spChg chg="add mod">
          <ac:chgData name="Kozak, Leon" userId="747f0a73-5ce8-44b6-ab35-65f2092c04ab" providerId="ADAL" clId="{D0DD3573-A637-5D49-9370-573DFDBCE708}" dt="2024-03-19T15:55:32.684" v="1161" actId="2711"/>
          <ac:spMkLst>
            <pc:docMk/>
            <pc:sldMk cId="3234336945" sldId="257"/>
            <ac:spMk id="3" creationId="{79FBC0A5-086C-2528-CEA1-E8F73EB9FE9E}"/>
          </ac:spMkLst>
        </pc:spChg>
        <pc:spChg chg="add del mod">
          <ac:chgData name="Kozak, Leon" userId="747f0a73-5ce8-44b6-ab35-65f2092c04ab" providerId="ADAL" clId="{D0DD3573-A637-5D49-9370-573DFDBCE708}" dt="2024-03-19T15:20:41.678" v="757" actId="478"/>
          <ac:spMkLst>
            <pc:docMk/>
            <pc:sldMk cId="3234336945" sldId="257"/>
            <ac:spMk id="3" creationId="{9DADC24A-8104-39A2-8067-7F39754E8233}"/>
          </ac:spMkLst>
        </pc:spChg>
        <pc:spChg chg="add del mod">
          <ac:chgData name="Kozak, Leon" userId="747f0a73-5ce8-44b6-ab35-65f2092c04ab" providerId="ADAL" clId="{D0DD3573-A637-5D49-9370-573DFDBCE708}" dt="2024-03-19T15:18:42.279" v="626" actId="478"/>
          <ac:spMkLst>
            <pc:docMk/>
            <pc:sldMk cId="3234336945" sldId="257"/>
            <ac:spMk id="4" creationId="{19143155-7A3F-96E5-90CC-05733857D744}"/>
          </ac:spMkLst>
        </pc:spChg>
        <pc:spChg chg="del">
          <ac:chgData name="Kozak, Leon" userId="747f0a73-5ce8-44b6-ab35-65f2092c04ab" providerId="ADAL" clId="{D0DD3573-A637-5D49-9370-573DFDBCE708}" dt="2024-03-19T15:20:39.447" v="756" actId="478"/>
          <ac:spMkLst>
            <pc:docMk/>
            <pc:sldMk cId="3234336945" sldId="257"/>
            <ac:spMk id="5" creationId="{1369061D-B89C-1F9E-69F7-4A5BEA144B1C}"/>
          </ac:spMkLst>
        </pc:spChg>
        <pc:spChg chg="mod">
          <ac:chgData name="Kozak, Leon" userId="747f0a73-5ce8-44b6-ab35-65f2092c04ab" providerId="ADAL" clId="{D0DD3573-A637-5D49-9370-573DFDBCE708}" dt="2024-03-19T15:55:32.684" v="1161" actId="2711"/>
          <ac:spMkLst>
            <pc:docMk/>
            <pc:sldMk cId="3234336945" sldId="257"/>
            <ac:spMk id="7" creationId="{1374A8CC-6938-2639-86C0-8AC95B4FD82C}"/>
          </ac:spMkLst>
        </pc:spChg>
        <pc:spChg chg="mod">
          <ac:chgData name="Kozak, Leon" userId="747f0a73-5ce8-44b6-ab35-65f2092c04ab" providerId="ADAL" clId="{D0DD3573-A637-5D49-9370-573DFDBCE708}" dt="2024-03-19T15:55:32.684" v="1161" actId="2711"/>
          <ac:spMkLst>
            <pc:docMk/>
            <pc:sldMk cId="3234336945" sldId="257"/>
            <ac:spMk id="8" creationId="{C086EEA7-B14E-C540-30CD-D037C0384104}"/>
          </ac:spMkLst>
        </pc:spChg>
        <pc:spChg chg="del">
          <ac:chgData name="Kozak, Leon" userId="747f0a73-5ce8-44b6-ab35-65f2092c04ab" providerId="ADAL" clId="{D0DD3573-A637-5D49-9370-573DFDBCE708}" dt="2024-03-19T15:02:22.762" v="168" actId="478"/>
          <ac:spMkLst>
            <pc:docMk/>
            <pc:sldMk cId="3234336945" sldId="257"/>
            <ac:spMk id="9" creationId="{5A502BDD-4FBE-346E-C26B-777B56071C97}"/>
          </ac:spMkLst>
        </pc:spChg>
        <pc:spChg chg="add mod">
          <ac:chgData name="Kozak, Leon" userId="747f0a73-5ce8-44b6-ab35-65f2092c04ab" providerId="ADAL" clId="{D0DD3573-A637-5D49-9370-573DFDBCE708}" dt="2024-03-19T15:55:32.684" v="1161" actId="2711"/>
          <ac:spMkLst>
            <pc:docMk/>
            <pc:sldMk cId="3234336945" sldId="257"/>
            <ac:spMk id="9" creationId="{DE492918-6D01-9E31-6319-A7175FED4AB0}"/>
          </ac:spMkLst>
        </pc:spChg>
        <pc:spChg chg="add del mod">
          <ac:chgData name="Kozak, Leon" userId="747f0a73-5ce8-44b6-ab35-65f2092c04ab" providerId="ADAL" clId="{D0DD3573-A637-5D49-9370-573DFDBCE708}" dt="2024-03-19T15:18:42.279" v="626" actId="478"/>
          <ac:spMkLst>
            <pc:docMk/>
            <pc:sldMk cId="3234336945" sldId="257"/>
            <ac:spMk id="10" creationId="{F3E56589-ABEC-DC9B-7C18-69903BD88779}"/>
          </ac:spMkLst>
        </pc:spChg>
        <pc:spChg chg="add del mod">
          <ac:chgData name="Kozak, Leon" userId="747f0a73-5ce8-44b6-ab35-65f2092c04ab" providerId="ADAL" clId="{D0DD3573-A637-5D49-9370-573DFDBCE708}" dt="2024-03-19T15:20:39.447" v="756" actId="478"/>
          <ac:spMkLst>
            <pc:docMk/>
            <pc:sldMk cId="3234336945" sldId="257"/>
            <ac:spMk id="11" creationId="{4A8BEBCE-D63B-DB05-2EFB-27B9E08ED771}"/>
          </ac:spMkLst>
        </pc:spChg>
        <pc:spChg chg="add mod">
          <ac:chgData name="Kozak, Leon" userId="747f0a73-5ce8-44b6-ab35-65f2092c04ab" providerId="ADAL" clId="{D0DD3573-A637-5D49-9370-573DFDBCE708}" dt="2024-03-19T15:55:32.684" v="1161" actId="2711"/>
          <ac:spMkLst>
            <pc:docMk/>
            <pc:sldMk cId="3234336945" sldId="257"/>
            <ac:spMk id="11" creationId="{728F5BC6-1FDB-76AA-7EFA-C6F5E5A5B5F3}"/>
          </ac:spMkLst>
        </pc:spChg>
        <pc:spChg chg="add del mod">
          <ac:chgData name="Kozak, Leon" userId="747f0a73-5ce8-44b6-ab35-65f2092c04ab" providerId="ADAL" clId="{D0DD3573-A637-5D49-9370-573DFDBCE708}" dt="2024-03-19T15:20:39.447" v="756" actId="478"/>
          <ac:spMkLst>
            <pc:docMk/>
            <pc:sldMk cId="3234336945" sldId="257"/>
            <ac:spMk id="12" creationId="{00265556-F0C2-3513-1E9C-F15C5E21446C}"/>
          </ac:spMkLst>
        </pc:spChg>
        <pc:spChg chg="add del mod">
          <ac:chgData name="Kozak, Leon" userId="747f0a73-5ce8-44b6-ab35-65f2092c04ab" providerId="ADAL" clId="{D0DD3573-A637-5D49-9370-573DFDBCE708}" dt="2024-03-19T15:18:42.279" v="626" actId="478"/>
          <ac:spMkLst>
            <pc:docMk/>
            <pc:sldMk cId="3234336945" sldId="257"/>
            <ac:spMk id="13" creationId="{2BB92181-BC90-119E-6002-B7364F75CE94}"/>
          </ac:spMkLst>
        </pc:spChg>
        <pc:spChg chg="add del mod">
          <ac:chgData name="Kozak, Leon" userId="747f0a73-5ce8-44b6-ab35-65f2092c04ab" providerId="ADAL" clId="{D0DD3573-A637-5D49-9370-573DFDBCE708}" dt="2024-03-19T15:18:42.279" v="626" actId="478"/>
          <ac:spMkLst>
            <pc:docMk/>
            <pc:sldMk cId="3234336945" sldId="257"/>
            <ac:spMk id="14" creationId="{8180D03B-C86B-01DD-F1ED-889077078C65}"/>
          </ac:spMkLst>
        </pc:spChg>
        <pc:spChg chg="add del mod">
          <ac:chgData name="Kozak, Leon" userId="747f0a73-5ce8-44b6-ab35-65f2092c04ab" providerId="ADAL" clId="{D0DD3573-A637-5D49-9370-573DFDBCE708}" dt="2024-03-19T15:20:41.678" v="757" actId="478"/>
          <ac:spMkLst>
            <pc:docMk/>
            <pc:sldMk cId="3234336945" sldId="257"/>
            <ac:spMk id="15" creationId="{9287C1D7-564C-BF18-A05D-00D92F1E36A6}"/>
          </ac:spMkLst>
        </pc:spChg>
        <pc:spChg chg="add del mod">
          <ac:chgData name="Kozak, Leon" userId="747f0a73-5ce8-44b6-ab35-65f2092c04ab" providerId="ADAL" clId="{D0DD3573-A637-5D49-9370-573DFDBCE708}" dt="2024-03-19T15:20:41.678" v="757" actId="478"/>
          <ac:spMkLst>
            <pc:docMk/>
            <pc:sldMk cId="3234336945" sldId="257"/>
            <ac:spMk id="16" creationId="{6A04F35E-3D38-CA9F-E2CD-F62E5D24D24E}"/>
          </ac:spMkLst>
        </pc:spChg>
        <pc:spChg chg="add del mod">
          <ac:chgData name="Kozak, Leon" userId="747f0a73-5ce8-44b6-ab35-65f2092c04ab" providerId="ADAL" clId="{D0DD3573-A637-5D49-9370-573DFDBCE708}" dt="2024-03-19T15:16:35.869" v="607" actId="478"/>
          <ac:spMkLst>
            <pc:docMk/>
            <pc:sldMk cId="3234336945" sldId="257"/>
            <ac:spMk id="17" creationId="{ED68D5CD-B6FA-9EFF-2F85-0AF28A70F14C}"/>
          </ac:spMkLst>
        </pc:spChg>
        <pc:spChg chg="add del mod">
          <ac:chgData name="Kozak, Leon" userId="747f0a73-5ce8-44b6-ab35-65f2092c04ab" providerId="ADAL" clId="{D0DD3573-A637-5D49-9370-573DFDBCE708}" dt="2024-03-19T15:20:39.447" v="756" actId="478"/>
          <ac:spMkLst>
            <pc:docMk/>
            <pc:sldMk cId="3234336945" sldId="257"/>
            <ac:spMk id="18" creationId="{DBF59D36-37A5-1EA0-6DC0-C5AA45415665}"/>
          </ac:spMkLst>
        </pc:spChg>
        <pc:spChg chg="add del mod">
          <ac:chgData name="Kozak, Leon" userId="747f0a73-5ce8-44b6-ab35-65f2092c04ab" providerId="ADAL" clId="{D0DD3573-A637-5D49-9370-573DFDBCE708}" dt="2024-03-19T15:16:37.543" v="608" actId="478"/>
          <ac:spMkLst>
            <pc:docMk/>
            <pc:sldMk cId="3234336945" sldId="257"/>
            <ac:spMk id="19" creationId="{4E296DEE-B247-6BB6-A8BB-1ADE0E3067B7}"/>
          </ac:spMkLst>
        </pc:spChg>
        <pc:spChg chg="add del mod">
          <ac:chgData name="Kozak, Leon" userId="747f0a73-5ce8-44b6-ab35-65f2092c04ab" providerId="ADAL" clId="{D0DD3573-A637-5D49-9370-573DFDBCE708}" dt="2024-03-19T15:20:39.447" v="756" actId="478"/>
          <ac:spMkLst>
            <pc:docMk/>
            <pc:sldMk cId="3234336945" sldId="257"/>
            <ac:spMk id="20" creationId="{04634860-2719-E8BA-4E7C-8FCC58C1D034}"/>
          </ac:spMkLst>
        </pc:spChg>
        <pc:spChg chg="add del mod">
          <ac:chgData name="Kozak, Leon" userId="747f0a73-5ce8-44b6-ab35-65f2092c04ab" providerId="ADAL" clId="{D0DD3573-A637-5D49-9370-573DFDBCE708}" dt="2024-03-19T15:18:42.279" v="626" actId="478"/>
          <ac:spMkLst>
            <pc:docMk/>
            <pc:sldMk cId="3234336945" sldId="257"/>
            <ac:spMk id="21" creationId="{085A3CDE-3F1B-1216-0DAA-F2A7A3C2CCF0}"/>
          </ac:spMkLst>
        </pc:spChg>
        <pc:spChg chg="add del mod">
          <ac:chgData name="Kozak, Leon" userId="747f0a73-5ce8-44b6-ab35-65f2092c04ab" providerId="ADAL" clId="{D0DD3573-A637-5D49-9370-573DFDBCE708}" dt="2024-03-19T15:20:41.678" v="757" actId="478"/>
          <ac:spMkLst>
            <pc:docMk/>
            <pc:sldMk cId="3234336945" sldId="257"/>
            <ac:spMk id="22" creationId="{3FACD46E-4238-EF86-8127-4C31C4778330}"/>
          </ac:spMkLst>
        </pc:spChg>
        <pc:spChg chg="add mod">
          <ac:chgData name="Kozak, Leon" userId="747f0a73-5ce8-44b6-ab35-65f2092c04ab" providerId="ADAL" clId="{D0DD3573-A637-5D49-9370-573DFDBCE708}" dt="2024-03-19T15:55:49.580" v="1163" actId="113"/>
          <ac:spMkLst>
            <pc:docMk/>
            <pc:sldMk cId="3234336945" sldId="257"/>
            <ac:spMk id="22" creationId="{8D0EFA60-A028-BE09-FB96-8B102B0D485C}"/>
          </ac:spMkLst>
        </pc:spChg>
        <pc:spChg chg="add del mod">
          <ac:chgData name="Kozak, Leon" userId="747f0a73-5ce8-44b6-ab35-65f2092c04ab" providerId="ADAL" clId="{D0DD3573-A637-5D49-9370-573DFDBCE708}" dt="2024-03-19T15:20:39.447" v="756" actId="478"/>
          <ac:spMkLst>
            <pc:docMk/>
            <pc:sldMk cId="3234336945" sldId="257"/>
            <ac:spMk id="23" creationId="{E8FF7BBD-FE05-9FBA-94D9-8DA2DCE72BEA}"/>
          </ac:spMkLst>
        </pc:spChg>
        <pc:spChg chg="add del mod">
          <ac:chgData name="Kozak, Leon" userId="747f0a73-5ce8-44b6-ab35-65f2092c04ab" providerId="ADAL" clId="{D0DD3573-A637-5D49-9370-573DFDBCE708}" dt="2024-03-19T15:15:56.141" v="606" actId="478"/>
          <ac:spMkLst>
            <pc:docMk/>
            <pc:sldMk cId="3234336945" sldId="257"/>
            <ac:spMk id="24" creationId="{F79ED0B8-3DD6-BF85-0975-4BFEC9B8A284}"/>
          </ac:spMkLst>
        </pc:spChg>
        <pc:spChg chg="add mod">
          <ac:chgData name="Kozak, Leon" userId="747f0a73-5ce8-44b6-ab35-65f2092c04ab" providerId="ADAL" clId="{D0DD3573-A637-5D49-9370-573DFDBCE708}" dt="2024-03-19T15:55:32.684" v="1161" actId="2711"/>
          <ac:spMkLst>
            <pc:docMk/>
            <pc:sldMk cId="3234336945" sldId="257"/>
            <ac:spMk id="25" creationId="{7AF60A61-1DA1-60B2-7CCC-6682B956F6FC}"/>
          </ac:spMkLst>
        </pc:spChg>
        <pc:spChg chg="add mod">
          <ac:chgData name="Kozak, Leon" userId="747f0a73-5ce8-44b6-ab35-65f2092c04ab" providerId="ADAL" clId="{D0DD3573-A637-5D49-9370-573DFDBCE708}" dt="2024-03-19T15:55:32.684" v="1161" actId="2711"/>
          <ac:spMkLst>
            <pc:docMk/>
            <pc:sldMk cId="3234336945" sldId="257"/>
            <ac:spMk id="26" creationId="{833040AD-C425-4315-ECF8-A05DEC77D736}"/>
          </ac:spMkLst>
        </pc:spChg>
        <pc:spChg chg="add mod">
          <ac:chgData name="Kozak, Leon" userId="747f0a73-5ce8-44b6-ab35-65f2092c04ab" providerId="ADAL" clId="{D0DD3573-A637-5D49-9370-573DFDBCE708}" dt="2024-03-19T15:55:32.684" v="1161" actId="2711"/>
          <ac:spMkLst>
            <pc:docMk/>
            <pc:sldMk cId="3234336945" sldId="257"/>
            <ac:spMk id="27" creationId="{085F1ED6-64CA-26AD-95FE-5BF48FC7FDD2}"/>
          </ac:spMkLst>
        </pc:spChg>
        <pc:spChg chg="add mod">
          <ac:chgData name="Kozak, Leon" userId="747f0a73-5ce8-44b6-ab35-65f2092c04ab" providerId="ADAL" clId="{D0DD3573-A637-5D49-9370-573DFDBCE708}" dt="2024-03-19T15:55:32.684" v="1161" actId="2711"/>
          <ac:spMkLst>
            <pc:docMk/>
            <pc:sldMk cId="3234336945" sldId="257"/>
            <ac:spMk id="28" creationId="{F59C099C-83F9-C2BE-C41E-348A9C30503B}"/>
          </ac:spMkLst>
        </pc:spChg>
        <pc:spChg chg="add del mod">
          <ac:chgData name="Kozak, Leon" userId="747f0a73-5ce8-44b6-ab35-65f2092c04ab" providerId="ADAL" clId="{D0DD3573-A637-5D49-9370-573DFDBCE708}" dt="2024-03-19T15:20:30.544" v="739" actId="478"/>
          <ac:spMkLst>
            <pc:docMk/>
            <pc:sldMk cId="3234336945" sldId="257"/>
            <ac:spMk id="29" creationId="{76F25DFD-3625-726F-061D-8A724DBE5891}"/>
          </ac:spMkLst>
        </pc:spChg>
        <pc:spChg chg="add mod">
          <ac:chgData name="Kozak, Leon" userId="747f0a73-5ce8-44b6-ab35-65f2092c04ab" providerId="ADAL" clId="{D0DD3573-A637-5D49-9370-573DFDBCE708}" dt="2024-03-19T15:55:52.601" v="1166" actId="113"/>
          <ac:spMkLst>
            <pc:docMk/>
            <pc:sldMk cId="3234336945" sldId="257"/>
            <ac:spMk id="30" creationId="{732ED7A2-ABD7-8169-484F-2D9A98D0465C}"/>
          </ac:spMkLst>
        </pc:spChg>
        <pc:spChg chg="add mod">
          <ac:chgData name="Kozak, Leon" userId="747f0a73-5ce8-44b6-ab35-65f2092c04ab" providerId="ADAL" clId="{D0DD3573-A637-5D49-9370-573DFDBCE708}" dt="2024-03-19T15:56:51.605" v="1169" actId="14100"/>
          <ac:spMkLst>
            <pc:docMk/>
            <pc:sldMk cId="3234336945" sldId="257"/>
            <ac:spMk id="32" creationId="{47810378-0DB6-8998-37EF-C971BD9E37C7}"/>
          </ac:spMkLst>
        </pc:spChg>
        <pc:spChg chg="add mod">
          <ac:chgData name="Kozak, Leon" userId="747f0a73-5ce8-44b6-ab35-65f2092c04ab" providerId="ADAL" clId="{D0DD3573-A637-5D49-9370-573DFDBCE708}" dt="2024-03-19T15:57:15.211" v="1176" actId="14100"/>
          <ac:spMkLst>
            <pc:docMk/>
            <pc:sldMk cId="3234336945" sldId="257"/>
            <ac:spMk id="36" creationId="{302D68F2-5233-6F26-F504-B3E0CC13D582}"/>
          </ac:spMkLst>
        </pc:spChg>
        <pc:spChg chg="add mod">
          <ac:chgData name="Kozak, Leon" userId="747f0a73-5ce8-44b6-ab35-65f2092c04ab" providerId="ADAL" clId="{D0DD3573-A637-5D49-9370-573DFDBCE708}" dt="2024-03-19T15:57:24.516" v="1178" actId="14100"/>
          <ac:spMkLst>
            <pc:docMk/>
            <pc:sldMk cId="3234336945" sldId="257"/>
            <ac:spMk id="37" creationId="{5CF944F3-EB0E-0B4D-35FD-041879DA8335}"/>
          </ac:spMkLst>
        </pc:spChg>
        <pc:spChg chg="add mod">
          <ac:chgData name="Kozak, Leon" userId="747f0a73-5ce8-44b6-ab35-65f2092c04ab" providerId="ADAL" clId="{D0DD3573-A637-5D49-9370-573DFDBCE708}" dt="2024-03-19T15:58:29.832" v="1206" actId="14100"/>
          <ac:spMkLst>
            <pc:docMk/>
            <pc:sldMk cId="3234336945" sldId="257"/>
            <ac:spMk id="38" creationId="{77B89E85-9AEB-FD2F-BB0F-D5CCD5064E41}"/>
          </ac:spMkLst>
        </pc:spChg>
        <pc:spChg chg="mod">
          <ac:chgData name="Kozak, Leon" userId="747f0a73-5ce8-44b6-ab35-65f2092c04ab" providerId="ADAL" clId="{D0DD3573-A637-5D49-9370-573DFDBCE708}" dt="2024-03-19T15:55:48.162" v="1162" actId="113"/>
          <ac:spMkLst>
            <pc:docMk/>
            <pc:sldMk cId="3234336945" sldId="257"/>
            <ac:spMk id="41" creationId="{671F2157-E3A8-74BE-E8A6-519D79F6F157}"/>
          </ac:spMkLst>
        </pc:spChg>
        <pc:spChg chg="mod">
          <ac:chgData name="Kozak, Leon" userId="747f0a73-5ce8-44b6-ab35-65f2092c04ab" providerId="ADAL" clId="{D0DD3573-A637-5D49-9370-573DFDBCE708}" dt="2024-03-19T15:55:32.684" v="1161" actId="2711"/>
          <ac:spMkLst>
            <pc:docMk/>
            <pc:sldMk cId="3234336945" sldId="257"/>
            <ac:spMk id="44" creationId="{2B258DBB-D630-0A79-DA77-7B71C538F527}"/>
          </ac:spMkLst>
        </pc:spChg>
        <pc:spChg chg="mod">
          <ac:chgData name="Kozak, Leon" userId="747f0a73-5ce8-44b6-ab35-65f2092c04ab" providerId="ADAL" clId="{D0DD3573-A637-5D49-9370-573DFDBCE708}" dt="2024-03-19T15:55:32.684" v="1161" actId="2711"/>
          <ac:spMkLst>
            <pc:docMk/>
            <pc:sldMk cId="3234336945" sldId="257"/>
            <ac:spMk id="45" creationId="{279C0A90-B026-034A-21E5-B5A40A97A8C6}"/>
          </ac:spMkLst>
        </pc:spChg>
        <pc:spChg chg="mod">
          <ac:chgData name="Kozak, Leon" userId="747f0a73-5ce8-44b6-ab35-65f2092c04ab" providerId="ADAL" clId="{D0DD3573-A637-5D49-9370-573DFDBCE708}" dt="2024-03-19T15:55:32.684" v="1161" actId="2711"/>
          <ac:spMkLst>
            <pc:docMk/>
            <pc:sldMk cId="3234336945" sldId="257"/>
            <ac:spMk id="47" creationId="{835C69BE-03F4-2FA2-CC30-02BAF83D3EC5}"/>
          </ac:spMkLst>
        </pc:spChg>
        <pc:spChg chg="mod">
          <ac:chgData name="Kozak, Leon" userId="747f0a73-5ce8-44b6-ab35-65f2092c04ab" providerId="ADAL" clId="{D0DD3573-A637-5D49-9370-573DFDBCE708}" dt="2024-03-19T15:55:32.684" v="1161" actId="2711"/>
          <ac:spMkLst>
            <pc:docMk/>
            <pc:sldMk cId="3234336945" sldId="257"/>
            <ac:spMk id="48" creationId="{147F6967-7758-4966-B5E2-0F7C183B3A55}"/>
          </ac:spMkLst>
        </pc:spChg>
        <pc:spChg chg="mod">
          <ac:chgData name="Kozak, Leon" userId="747f0a73-5ce8-44b6-ab35-65f2092c04ab" providerId="ADAL" clId="{D0DD3573-A637-5D49-9370-573DFDBCE708}" dt="2024-03-19T15:55:32.684" v="1161" actId="2711"/>
          <ac:spMkLst>
            <pc:docMk/>
            <pc:sldMk cId="3234336945" sldId="257"/>
            <ac:spMk id="49" creationId="{CD576789-2C17-EC58-3F70-0AC56BFB05A8}"/>
          </ac:spMkLst>
        </pc:spChg>
        <pc:spChg chg="mod">
          <ac:chgData name="Kozak, Leon" userId="747f0a73-5ce8-44b6-ab35-65f2092c04ab" providerId="ADAL" clId="{D0DD3573-A637-5D49-9370-573DFDBCE708}" dt="2024-03-19T15:55:32.684" v="1161" actId="2711"/>
          <ac:spMkLst>
            <pc:docMk/>
            <pc:sldMk cId="3234336945" sldId="257"/>
            <ac:spMk id="50" creationId="{34E4354F-6C47-201F-2622-F2DC0520B95A}"/>
          </ac:spMkLst>
        </pc:spChg>
        <pc:spChg chg="mod">
          <ac:chgData name="Kozak, Leon" userId="747f0a73-5ce8-44b6-ab35-65f2092c04ab" providerId="ADAL" clId="{D0DD3573-A637-5D49-9370-573DFDBCE708}" dt="2024-03-19T15:55:32.684" v="1161" actId="2711"/>
          <ac:spMkLst>
            <pc:docMk/>
            <pc:sldMk cId="3234336945" sldId="257"/>
            <ac:spMk id="52" creationId="{AD7B5BE8-E1C9-EFAA-C91F-39A111BBC438}"/>
          </ac:spMkLst>
        </pc:spChg>
        <pc:spChg chg="mod">
          <ac:chgData name="Kozak, Leon" userId="747f0a73-5ce8-44b6-ab35-65f2092c04ab" providerId="ADAL" clId="{D0DD3573-A637-5D49-9370-573DFDBCE708}" dt="2024-03-19T15:55:32.684" v="1161" actId="2711"/>
          <ac:spMkLst>
            <pc:docMk/>
            <pc:sldMk cId="3234336945" sldId="257"/>
            <ac:spMk id="53" creationId="{CDD5F004-8794-6181-EE37-A49954D48C7A}"/>
          </ac:spMkLst>
        </pc:spChg>
        <pc:spChg chg="mod">
          <ac:chgData name="Kozak, Leon" userId="747f0a73-5ce8-44b6-ab35-65f2092c04ab" providerId="ADAL" clId="{D0DD3573-A637-5D49-9370-573DFDBCE708}" dt="2024-03-19T15:55:32.684" v="1161" actId="2711"/>
          <ac:spMkLst>
            <pc:docMk/>
            <pc:sldMk cId="3234336945" sldId="257"/>
            <ac:spMk id="54" creationId="{5C1A0185-66D7-84FE-9B16-3FB0AFBD914B}"/>
          </ac:spMkLst>
        </pc:spChg>
        <pc:grpChg chg="add mod">
          <ac:chgData name="Kozak, Leon" userId="747f0a73-5ce8-44b6-ab35-65f2092c04ab" providerId="ADAL" clId="{D0DD3573-A637-5D49-9370-573DFDBCE708}" dt="2024-03-19T15:41:38.261" v="896" actId="164"/>
          <ac:grpSpMkLst>
            <pc:docMk/>
            <pc:sldMk cId="3234336945" sldId="257"/>
            <ac:grpSpMk id="13" creationId="{0CC884AD-7493-DD31-7064-63AF3C53E454}"/>
          </ac:grpSpMkLst>
        </pc:grpChg>
        <pc:grpChg chg="add mod">
          <ac:chgData name="Kozak, Leon" userId="747f0a73-5ce8-44b6-ab35-65f2092c04ab" providerId="ADAL" clId="{D0DD3573-A637-5D49-9370-573DFDBCE708}" dt="2024-03-19T15:41:16.765" v="894" actId="164"/>
          <ac:grpSpMkLst>
            <pc:docMk/>
            <pc:sldMk cId="3234336945" sldId="257"/>
            <ac:grpSpMk id="14" creationId="{0C66218F-18F0-2593-388B-8AA1801AC0D3}"/>
          </ac:grpSpMkLst>
        </pc:grpChg>
        <pc:grpChg chg="add mod">
          <ac:chgData name="Kozak, Leon" userId="747f0a73-5ce8-44b6-ab35-65f2092c04ab" providerId="ADAL" clId="{D0DD3573-A637-5D49-9370-573DFDBCE708}" dt="2024-03-19T15:41:24.348" v="895" actId="164"/>
          <ac:grpSpMkLst>
            <pc:docMk/>
            <pc:sldMk cId="3234336945" sldId="257"/>
            <ac:grpSpMk id="15" creationId="{D96FA495-40D2-C669-CD04-BD1B3ADFF33F}"/>
          </ac:grpSpMkLst>
        </pc:grpChg>
        <pc:grpChg chg="add mod">
          <ac:chgData name="Kozak, Leon" userId="747f0a73-5ce8-44b6-ab35-65f2092c04ab" providerId="ADAL" clId="{D0DD3573-A637-5D49-9370-573DFDBCE708}" dt="2024-03-19T15:41:10.641" v="893" actId="164"/>
          <ac:grpSpMkLst>
            <pc:docMk/>
            <pc:sldMk cId="3234336945" sldId="257"/>
            <ac:grpSpMk id="16" creationId="{CC8655C5-7ED8-D6AD-E392-29D7DCC5672B}"/>
          </ac:grpSpMkLst>
        </pc:grpChg>
        <pc:grpChg chg="add mod">
          <ac:chgData name="Kozak, Leon" userId="747f0a73-5ce8-44b6-ab35-65f2092c04ab" providerId="ADAL" clId="{D0DD3573-A637-5D49-9370-573DFDBCE708}" dt="2024-03-19T15:43:03.544" v="901" actId="1038"/>
          <ac:grpSpMkLst>
            <pc:docMk/>
            <pc:sldMk cId="3234336945" sldId="257"/>
            <ac:grpSpMk id="17" creationId="{370ED8CE-1B56-1C37-F28E-FDC1287439A3}"/>
          </ac:grpSpMkLst>
        </pc:grpChg>
        <pc:grpChg chg="add mod">
          <ac:chgData name="Kozak, Leon" userId="747f0a73-5ce8-44b6-ab35-65f2092c04ab" providerId="ADAL" clId="{D0DD3573-A637-5D49-9370-573DFDBCE708}" dt="2024-03-19T15:46:48.494" v="967" actId="1076"/>
          <ac:grpSpMkLst>
            <pc:docMk/>
            <pc:sldMk cId="3234336945" sldId="257"/>
            <ac:grpSpMk id="19" creationId="{33D32BB2-AB84-910C-6756-27ED94852674}"/>
          </ac:grpSpMkLst>
        </pc:grpChg>
        <pc:grpChg chg="add mod">
          <ac:chgData name="Kozak, Leon" userId="747f0a73-5ce8-44b6-ab35-65f2092c04ab" providerId="ADAL" clId="{D0DD3573-A637-5D49-9370-573DFDBCE708}" dt="2024-03-19T15:46:39.206" v="966" actId="1076"/>
          <ac:grpSpMkLst>
            <pc:docMk/>
            <pc:sldMk cId="3234336945" sldId="257"/>
            <ac:grpSpMk id="20" creationId="{37C5AC8A-7E4A-FC22-0BD0-4AC1599D423A}"/>
          </ac:grpSpMkLst>
        </pc:grpChg>
        <pc:grpChg chg="add mod">
          <ac:chgData name="Kozak, Leon" userId="747f0a73-5ce8-44b6-ab35-65f2092c04ab" providerId="ADAL" clId="{D0DD3573-A637-5D49-9370-573DFDBCE708}" dt="2024-03-19T15:43:03.544" v="901" actId="1038"/>
          <ac:grpSpMkLst>
            <pc:docMk/>
            <pc:sldMk cId="3234336945" sldId="257"/>
            <ac:grpSpMk id="21" creationId="{C8496607-B366-7E66-F092-D1233080795B}"/>
          </ac:grpSpMkLst>
        </pc:grpChg>
        <pc:picChg chg="add del mod">
          <ac:chgData name="Kozak, Leon" userId="747f0a73-5ce8-44b6-ab35-65f2092c04ab" providerId="ADAL" clId="{D0DD3573-A637-5D49-9370-573DFDBCE708}" dt="2024-03-19T15:29:58.511" v="787" actId="478"/>
          <ac:picMkLst>
            <pc:docMk/>
            <pc:sldMk cId="3234336945" sldId="257"/>
            <ac:picMk id="3" creationId="{840339A6-6221-3504-3F46-08DBB869AAFE}"/>
          </ac:picMkLst>
        </pc:picChg>
        <pc:picChg chg="mod">
          <ac:chgData name="Kozak, Leon" userId="747f0a73-5ce8-44b6-ab35-65f2092c04ab" providerId="ADAL" clId="{D0DD3573-A637-5D49-9370-573DFDBCE708}" dt="2024-03-19T15:42:55.143" v="900" actId="1038"/>
          <ac:picMkLst>
            <pc:docMk/>
            <pc:sldMk cId="3234336945" sldId="257"/>
            <ac:picMk id="4" creationId="{9184C9F6-F691-F3AC-54FC-4EA1A3762C7F}"/>
          </ac:picMkLst>
        </pc:picChg>
        <pc:picChg chg="add mod">
          <ac:chgData name="Kozak, Leon" userId="747f0a73-5ce8-44b6-ab35-65f2092c04ab" providerId="ADAL" clId="{D0DD3573-A637-5D49-9370-573DFDBCE708}" dt="2024-03-19T15:38:14.281" v="871" actId="164"/>
          <ac:picMkLst>
            <pc:docMk/>
            <pc:sldMk cId="3234336945" sldId="257"/>
            <ac:picMk id="5" creationId="{21E934EF-C01D-8F79-3A5D-DBCF4EFDC760}"/>
          </ac:picMkLst>
        </pc:picChg>
        <pc:picChg chg="add mod">
          <ac:chgData name="Kozak, Leon" userId="747f0a73-5ce8-44b6-ab35-65f2092c04ab" providerId="ADAL" clId="{D0DD3573-A637-5D49-9370-573DFDBCE708}" dt="2024-03-19T15:38:02.127" v="867" actId="164"/>
          <ac:picMkLst>
            <pc:docMk/>
            <pc:sldMk cId="3234336945" sldId="257"/>
            <ac:picMk id="10" creationId="{D2603647-5E7A-FF93-BBA8-66CEFA09A026}"/>
          </ac:picMkLst>
        </pc:picChg>
        <pc:picChg chg="add mod">
          <ac:chgData name="Kozak, Leon" userId="747f0a73-5ce8-44b6-ab35-65f2092c04ab" providerId="ADAL" clId="{D0DD3573-A637-5D49-9370-573DFDBCE708}" dt="2024-03-19T15:38:17.981" v="872" actId="164"/>
          <ac:picMkLst>
            <pc:docMk/>
            <pc:sldMk cId="3234336945" sldId="257"/>
            <ac:picMk id="12" creationId="{645326F3-1391-5EA3-5AD0-350852FB2677}"/>
          </ac:picMkLst>
        </pc:picChg>
        <pc:picChg chg="mod">
          <ac:chgData name="Kozak, Leon" userId="747f0a73-5ce8-44b6-ab35-65f2092c04ab" providerId="ADAL" clId="{D0DD3573-A637-5D49-9370-573DFDBCE708}" dt="2024-03-19T15:42:55.143" v="900" actId="1038"/>
          <ac:picMkLst>
            <pc:docMk/>
            <pc:sldMk cId="3234336945" sldId="257"/>
            <ac:picMk id="18" creationId="{2EBB2D69-5273-83E9-2AD1-F7D25EE52F65}"/>
          </ac:picMkLst>
        </pc:picChg>
        <pc:picChg chg="del">
          <ac:chgData name="Kozak, Leon" userId="747f0a73-5ce8-44b6-ab35-65f2092c04ab" providerId="ADAL" clId="{D0DD3573-A637-5D49-9370-573DFDBCE708}" dt="2024-03-19T15:24:57.035" v="761" actId="478"/>
          <ac:picMkLst>
            <pc:docMk/>
            <pc:sldMk cId="3234336945" sldId="257"/>
            <ac:picMk id="39" creationId="{7ACCA48B-B068-76C9-7DCA-CA1F462DAC91}"/>
          </ac:picMkLst>
        </pc:picChg>
        <pc:picChg chg="add mod">
          <ac:chgData name="Kozak, Leon" userId="747f0a73-5ce8-44b6-ab35-65f2092c04ab" providerId="ADAL" clId="{D0DD3573-A637-5D49-9370-573DFDBCE708}" dt="2024-03-19T15:38:09.377" v="870" actId="164"/>
          <ac:picMkLst>
            <pc:docMk/>
            <pc:sldMk cId="3234336945" sldId="257"/>
            <ac:picMk id="42" creationId="{DA693C98-B44C-4D77-985B-79CC1787DEAD}"/>
          </ac:picMkLst>
        </pc:picChg>
        <pc:picChg chg="mod">
          <ac:chgData name="Kozak, Leon" userId="747f0a73-5ce8-44b6-ab35-65f2092c04ab" providerId="ADAL" clId="{D0DD3573-A637-5D49-9370-573DFDBCE708}" dt="2024-03-19T15:42:55.143" v="900" actId="1038"/>
          <ac:picMkLst>
            <pc:docMk/>
            <pc:sldMk cId="3234336945" sldId="257"/>
            <ac:picMk id="51" creationId="{A9BC5837-78BC-8AC3-01BF-D536DA0E363B}"/>
          </ac:picMkLst>
        </pc:picChg>
        <pc:cxnChg chg="add mod">
          <ac:chgData name="Kozak, Leon" userId="747f0a73-5ce8-44b6-ab35-65f2092c04ab" providerId="ADAL" clId="{D0DD3573-A637-5D49-9370-573DFDBCE708}" dt="2024-03-19T15:44:26.938" v="918" actId="1076"/>
          <ac:cxnSpMkLst>
            <pc:docMk/>
            <pc:sldMk cId="3234336945" sldId="257"/>
            <ac:cxnSpMk id="24" creationId="{A9524D12-6299-BA72-D93B-70A189392B6A}"/>
          </ac:cxnSpMkLst>
        </pc:cxnChg>
        <pc:cxnChg chg="add mod">
          <ac:chgData name="Kozak, Leon" userId="747f0a73-5ce8-44b6-ab35-65f2092c04ab" providerId="ADAL" clId="{D0DD3573-A637-5D49-9370-573DFDBCE708}" dt="2024-03-19T15:47:01.927" v="971" actId="1076"/>
          <ac:cxnSpMkLst>
            <pc:docMk/>
            <pc:sldMk cId="3234336945" sldId="257"/>
            <ac:cxnSpMk id="29" creationId="{7E3348B6-3913-BFEB-8123-496D42F5CE08}"/>
          </ac:cxnSpMkLst>
        </pc:cxnChg>
        <pc:cxnChg chg="mod">
          <ac:chgData name="Kozak, Leon" userId="747f0a73-5ce8-44b6-ab35-65f2092c04ab" providerId="ADAL" clId="{D0DD3573-A637-5D49-9370-573DFDBCE708}" dt="2024-03-19T15:43:25.375" v="904" actId="14100"/>
          <ac:cxnSpMkLst>
            <pc:docMk/>
            <pc:sldMk cId="3234336945" sldId="257"/>
            <ac:cxnSpMk id="43" creationId="{F402C0A1-BE6D-5022-8AEE-EFF69F12B5B6}"/>
          </ac:cxnSpMkLst>
        </pc:cxnChg>
      </pc:sldChg>
      <pc:sldChg chg="addSp delSp modSp mod">
        <pc:chgData name="Kozak, Leon" userId="747f0a73-5ce8-44b6-ab35-65f2092c04ab" providerId="ADAL" clId="{D0DD3573-A637-5D49-9370-573DFDBCE708}" dt="2024-03-19T16:18:32.201" v="1445" actId="5793"/>
        <pc:sldMkLst>
          <pc:docMk/>
          <pc:sldMk cId="2792389448" sldId="258"/>
        </pc:sldMkLst>
        <pc:spChg chg="add mod">
          <ac:chgData name="Kozak, Leon" userId="747f0a73-5ce8-44b6-ab35-65f2092c04ab" providerId="ADAL" clId="{D0DD3573-A637-5D49-9370-573DFDBCE708}" dt="2024-03-19T16:10:53.721" v="1283" actId="20577"/>
          <ac:spMkLst>
            <pc:docMk/>
            <pc:sldMk cId="2792389448" sldId="258"/>
            <ac:spMk id="2" creationId="{32B25CD3-AAF5-3BD7-5333-772FB1FB7E3C}"/>
          </ac:spMkLst>
        </pc:spChg>
        <pc:spChg chg="mod">
          <ac:chgData name="Kozak, Leon" userId="747f0a73-5ce8-44b6-ab35-65f2092c04ab" providerId="ADAL" clId="{D0DD3573-A637-5D49-9370-573DFDBCE708}" dt="2024-03-19T16:06:08.541" v="1223"/>
          <ac:spMkLst>
            <pc:docMk/>
            <pc:sldMk cId="2792389448" sldId="258"/>
            <ac:spMk id="7" creationId="{1374A8CC-6938-2639-86C0-8AC95B4FD82C}"/>
          </ac:spMkLst>
        </pc:spChg>
        <pc:spChg chg="del mod">
          <ac:chgData name="Kozak, Leon" userId="747f0a73-5ce8-44b6-ab35-65f2092c04ab" providerId="ADAL" clId="{D0DD3573-A637-5D49-9370-573DFDBCE708}" dt="2024-03-19T16:10:49.202" v="1270" actId="478"/>
          <ac:spMkLst>
            <pc:docMk/>
            <pc:sldMk cId="2792389448" sldId="258"/>
            <ac:spMk id="9" creationId="{5A502BDD-4FBE-346E-C26B-777B56071C97}"/>
          </ac:spMkLst>
        </pc:spChg>
        <pc:spChg chg="add del">
          <ac:chgData name="Kozak, Leon" userId="747f0a73-5ce8-44b6-ab35-65f2092c04ab" providerId="ADAL" clId="{D0DD3573-A637-5D49-9370-573DFDBCE708}" dt="2024-03-19T16:12:28.875" v="1330" actId="478"/>
          <ac:spMkLst>
            <pc:docMk/>
            <pc:sldMk cId="2792389448" sldId="258"/>
            <ac:spMk id="10" creationId="{3F5EB40A-FC3D-F327-42F2-64DF73C6BCA2}"/>
          </ac:spMkLst>
        </pc:spChg>
        <pc:spChg chg="add mod">
          <ac:chgData name="Kozak, Leon" userId="747f0a73-5ce8-44b6-ab35-65f2092c04ab" providerId="ADAL" clId="{D0DD3573-A637-5D49-9370-573DFDBCE708}" dt="2024-03-19T16:18:32.201" v="1445" actId="5793"/>
          <ac:spMkLst>
            <pc:docMk/>
            <pc:sldMk cId="2792389448" sldId="258"/>
            <ac:spMk id="11" creationId="{56C26B3E-6033-2BC0-6E27-4188F5DB2D7F}"/>
          </ac:spMkLst>
        </pc:spChg>
        <pc:picChg chg="add mod">
          <ac:chgData name="Kozak, Leon" userId="747f0a73-5ce8-44b6-ab35-65f2092c04ab" providerId="ADAL" clId="{D0DD3573-A637-5D49-9370-573DFDBCE708}" dt="2024-03-19T16:08:17.772" v="1258" actId="1076"/>
          <ac:picMkLst>
            <pc:docMk/>
            <pc:sldMk cId="2792389448" sldId="258"/>
            <ac:picMk id="3" creationId="{5A0A69C1-1211-6B1B-499C-30814576CEA9}"/>
          </ac:picMkLst>
        </pc:picChg>
        <pc:picChg chg="add del mod">
          <ac:chgData name="Kozak, Leon" userId="747f0a73-5ce8-44b6-ab35-65f2092c04ab" providerId="ADAL" clId="{D0DD3573-A637-5D49-9370-573DFDBCE708}" dt="2024-03-19T16:07:06.446" v="1229" actId="478"/>
          <ac:picMkLst>
            <pc:docMk/>
            <pc:sldMk cId="2792389448" sldId="258"/>
            <ac:picMk id="10" creationId="{D28511B2-E7C1-11A4-CD73-8A327C1D391D}"/>
          </ac:picMkLst>
        </pc:picChg>
        <pc:picChg chg="add mod">
          <ac:chgData name="Kozak, Leon" userId="747f0a73-5ce8-44b6-ab35-65f2092c04ab" providerId="ADAL" clId="{D0DD3573-A637-5D49-9370-573DFDBCE708}" dt="2024-03-19T16:08:41.381" v="1269" actId="1076"/>
          <ac:picMkLst>
            <pc:docMk/>
            <pc:sldMk cId="2792389448" sldId="258"/>
            <ac:picMk id="12" creationId="{4E4E5917-1900-AD23-C8F0-8644B03B9981}"/>
          </ac:picMkLst>
        </pc:picChg>
        <pc:picChg chg="add mod">
          <ac:chgData name="Kozak, Leon" userId="747f0a73-5ce8-44b6-ab35-65f2092c04ab" providerId="ADAL" clId="{D0DD3573-A637-5D49-9370-573DFDBCE708}" dt="2024-03-19T16:08:35.515" v="1267" actId="1035"/>
          <ac:picMkLst>
            <pc:docMk/>
            <pc:sldMk cId="2792389448" sldId="258"/>
            <ac:picMk id="13" creationId="{104A8D14-B8A9-F583-2E4E-AC16F939D658}"/>
          </ac:picMkLst>
        </pc:picChg>
        <pc:picChg chg="add mod modCrop">
          <ac:chgData name="Kozak, Leon" userId="747f0a73-5ce8-44b6-ab35-65f2092c04ab" providerId="ADAL" clId="{D0DD3573-A637-5D49-9370-573DFDBCE708}" dt="2024-03-19T16:08:08.060" v="1254" actId="1076"/>
          <ac:picMkLst>
            <pc:docMk/>
            <pc:sldMk cId="2792389448" sldId="258"/>
            <ac:picMk id="15" creationId="{9460D8CB-CA92-3B36-A533-9F12D832B64F}"/>
          </ac:picMkLst>
        </pc:picChg>
        <pc:cxnChg chg="add mod">
          <ac:chgData name="Kozak, Leon" userId="747f0a73-5ce8-44b6-ab35-65f2092c04ab" providerId="ADAL" clId="{D0DD3573-A637-5D49-9370-573DFDBCE708}" dt="2024-03-19T16:10:49.834" v="1271"/>
          <ac:cxnSpMkLst>
            <pc:docMk/>
            <pc:sldMk cId="2792389448" sldId="258"/>
            <ac:cxnSpMk id="3" creationId="{DB023085-8BD1-236C-20FC-CD6934E25A30}"/>
          </ac:cxnSpMkLst>
        </pc:cxnChg>
      </pc:sldChg>
      <pc:sldChg chg="modSp mod">
        <pc:chgData name="Kozak, Leon" userId="747f0a73-5ce8-44b6-ab35-65f2092c04ab" providerId="ADAL" clId="{D0DD3573-A637-5D49-9370-573DFDBCE708}" dt="2024-03-19T16:05:33.914" v="1221" actId="20577"/>
        <pc:sldMkLst>
          <pc:docMk/>
          <pc:sldMk cId="1675125052" sldId="259"/>
        </pc:sldMkLst>
        <pc:spChg chg="mod">
          <ac:chgData name="Kozak, Leon" userId="747f0a73-5ce8-44b6-ab35-65f2092c04ab" providerId="ADAL" clId="{D0DD3573-A637-5D49-9370-573DFDBCE708}" dt="2024-03-19T16:05:33.914" v="1221" actId="20577"/>
          <ac:spMkLst>
            <pc:docMk/>
            <pc:sldMk cId="1675125052" sldId="259"/>
            <ac:spMk id="8" creationId="{C086EEA7-B14E-C540-30CD-D037C0384104}"/>
          </ac:spMkLst>
        </pc:spChg>
      </pc:sldChg>
      <pc:sldChg chg="modSp mod">
        <pc:chgData name="Kozak, Leon" userId="747f0a73-5ce8-44b6-ab35-65f2092c04ab" providerId="ADAL" clId="{D0DD3573-A637-5D49-9370-573DFDBCE708}" dt="2024-03-19T16:18:56.934" v="1449" actId="113"/>
        <pc:sldMkLst>
          <pc:docMk/>
          <pc:sldMk cId="2342603799" sldId="261"/>
        </pc:sldMkLst>
        <pc:spChg chg="mod">
          <ac:chgData name="Kozak, Leon" userId="747f0a73-5ce8-44b6-ab35-65f2092c04ab" providerId="ADAL" clId="{D0DD3573-A637-5D49-9370-573DFDBCE708}" dt="2024-03-19T16:18:56.934" v="1449" actId="113"/>
          <ac:spMkLst>
            <pc:docMk/>
            <pc:sldMk cId="2342603799" sldId="261"/>
            <ac:spMk id="18" creationId="{C2C6FC7F-AAA1-BF7C-1310-6698FD3BAB02}"/>
          </ac:spMkLst>
        </pc:spChg>
      </pc:sldChg>
    </pc:docChg>
  </pc:docChgLst>
  <pc:docChgLst>
    <pc:chgData name="Röskam, Leonie" userId="7344345d-483f-4870-a216-6410a6913f96" providerId="ADAL" clId="{CE42C183-9C60-43BB-AE19-0A61CD7184D8}"/>
    <pc:docChg chg="custSel addSld delSld modSld">
      <pc:chgData name="Röskam, Leonie" userId="7344345d-483f-4870-a216-6410a6913f96" providerId="ADAL" clId="{CE42C183-9C60-43BB-AE19-0A61CD7184D8}" dt="2024-03-21T13:00:55.894" v="582" actId="2711"/>
      <pc:docMkLst>
        <pc:docMk/>
      </pc:docMkLst>
      <pc:sldChg chg="modSp mod">
        <pc:chgData name="Röskam, Leonie" userId="7344345d-483f-4870-a216-6410a6913f96" providerId="ADAL" clId="{CE42C183-9C60-43BB-AE19-0A61CD7184D8}" dt="2024-03-21T12:57:34.747" v="572" actId="20577"/>
        <pc:sldMkLst>
          <pc:docMk/>
          <pc:sldMk cId="3252490408" sldId="256"/>
        </pc:sldMkLst>
        <pc:spChg chg="mod">
          <ac:chgData name="Röskam, Leonie" userId="7344345d-483f-4870-a216-6410a6913f96" providerId="ADAL" clId="{CE42C183-9C60-43BB-AE19-0A61CD7184D8}" dt="2024-03-21T12:57:34.747" v="572" actId="20577"/>
          <ac:spMkLst>
            <pc:docMk/>
            <pc:sldMk cId="3252490408" sldId="256"/>
            <ac:spMk id="4" creationId="{45B23A0F-49F9-BC5E-6884-AC9FA9C9DE87}"/>
          </ac:spMkLst>
        </pc:spChg>
      </pc:sldChg>
      <pc:sldChg chg="modSp mod">
        <pc:chgData name="Röskam, Leonie" userId="7344345d-483f-4870-a216-6410a6913f96" providerId="ADAL" clId="{CE42C183-9C60-43BB-AE19-0A61CD7184D8}" dt="2024-03-21T13:00:13.175" v="578" actId="113"/>
        <pc:sldMkLst>
          <pc:docMk/>
          <pc:sldMk cId="3234336945" sldId="257"/>
        </pc:sldMkLst>
        <pc:spChg chg="mod">
          <ac:chgData name="Röskam, Leonie" userId="7344345d-483f-4870-a216-6410a6913f96" providerId="ADAL" clId="{CE42C183-9C60-43BB-AE19-0A61CD7184D8}" dt="2024-03-21T13:00:13.175" v="578" actId="113"/>
          <ac:spMkLst>
            <pc:docMk/>
            <pc:sldMk cId="3234336945" sldId="257"/>
            <ac:spMk id="8" creationId="{C086EEA7-B14E-C540-30CD-D037C0384104}"/>
          </ac:spMkLst>
        </pc:spChg>
        <pc:spChg chg="mod">
          <ac:chgData name="Röskam, Leonie" userId="7344345d-483f-4870-a216-6410a6913f96" providerId="ADAL" clId="{CE42C183-9C60-43BB-AE19-0A61CD7184D8}" dt="2024-03-20T12:07:12.476" v="32" actId="20577"/>
          <ac:spMkLst>
            <pc:docMk/>
            <pc:sldMk cId="3234336945" sldId="257"/>
            <ac:spMk id="27" creationId="{085F1ED6-64CA-26AD-95FE-5BF48FC7FDD2}"/>
          </ac:spMkLst>
        </pc:spChg>
        <pc:spChg chg="mod">
          <ac:chgData name="Röskam, Leonie" userId="7344345d-483f-4870-a216-6410a6913f96" providerId="ADAL" clId="{CE42C183-9C60-43BB-AE19-0A61CD7184D8}" dt="2024-03-20T21:54:16.362" v="435" actId="20577"/>
          <ac:spMkLst>
            <pc:docMk/>
            <pc:sldMk cId="3234336945" sldId="257"/>
            <ac:spMk id="36" creationId="{302D68F2-5233-6F26-F504-B3E0CC13D582}"/>
          </ac:spMkLst>
        </pc:spChg>
        <pc:spChg chg="mod">
          <ac:chgData name="Röskam, Leonie" userId="7344345d-483f-4870-a216-6410a6913f96" providerId="ADAL" clId="{CE42C183-9C60-43BB-AE19-0A61CD7184D8}" dt="2024-03-21T12:59:39.450" v="576" actId="20577"/>
          <ac:spMkLst>
            <pc:docMk/>
            <pc:sldMk cId="3234336945" sldId="257"/>
            <ac:spMk id="54" creationId="{5C1A0185-66D7-84FE-9B16-3FB0AFBD914B}"/>
          </ac:spMkLst>
        </pc:spChg>
      </pc:sldChg>
      <pc:sldChg chg="modSp mod">
        <pc:chgData name="Röskam, Leonie" userId="7344345d-483f-4870-a216-6410a6913f96" providerId="ADAL" clId="{CE42C183-9C60-43BB-AE19-0A61CD7184D8}" dt="2024-03-21T13:00:36.086" v="580" actId="2711"/>
        <pc:sldMkLst>
          <pc:docMk/>
          <pc:sldMk cId="1675125052" sldId="259"/>
        </pc:sldMkLst>
        <pc:spChg chg="mod">
          <ac:chgData name="Röskam, Leonie" userId="7344345d-483f-4870-a216-6410a6913f96" providerId="ADAL" clId="{CE42C183-9C60-43BB-AE19-0A61CD7184D8}" dt="2024-03-21T13:00:36.086" v="580" actId="2711"/>
          <ac:spMkLst>
            <pc:docMk/>
            <pc:sldMk cId="1675125052" sldId="259"/>
            <ac:spMk id="8" creationId="{C086EEA7-B14E-C540-30CD-D037C0384104}"/>
          </ac:spMkLst>
        </pc:spChg>
      </pc:sldChg>
      <pc:sldChg chg="addSp delSp modSp mod">
        <pc:chgData name="Röskam, Leonie" userId="7344345d-483f-4870-a216-6410a6913f96" providerId="ADAL" clId="{CE42C183-9C60-43BB-AE19-0A61CD7184D8}" dt="2024-03-21T13:00:42.760" v="581" actId="2711"/>
        <pc:sldMkLst>
          <pc:docMk/>
          <pc:sldMk cId="2342603799" sldId="261"/>
        </pc:sldMkLst>
        <pc:spChg chg="add del mod">
          <ac:chgData name="Röskam, Leonie" userId="7344345d-483f-4870-a216-6410a6913f96" providerId="ADAL" clId="{CE42C183-9C60-43BB-AE19-0A61CD7184D8}" dt="2024-03-21T12:57:19.202" v="564" actId="478"/>
          <ac:spMkLst>
            <pc:docMk/>
            <pc:sldMk cId="2342603799" sldId="261"/>
            <ac:spMk id="2" creationId="{C3C5963B-A718-D759-D988-4C1FB956489D}"/>
          </ac:spMkLst>
        </pc:spChg>
        <pc:spChg chg="mod">
          <ac:chgData name="Röskam, Leonie" userId="7344345d-483f-4870-a216-6410a6913f96" providerId="ADAL" clId="{CE42C183-9C60-43BB-AE19-0A61CD7184D8}" dt="2024-03-21T13:00:42.760" v="581" actId="2711"/>
          <ac:spMkLst>
            <pc:docMk/>
            <pc:sldMk cId="2342603799" sldId="261"/>
            <ac:spMk id="8" creationId="{C086EEA7-B14E-C540-30CD-D037C0384104}"/>
          </ac:spMkLst>
        </pc:spChg>
        <pc:spChg chg="mod">
          <ac:chgData name="Röskam, Leonie" userId="7344345d-483f-4870-a216-6410a6913f96" providerId="ADAL" clId="{CE42C183-9C60-43BB-AE19-0A61CD7184D8}" dt="2024-03-20T12:11:24.244" v="434" actId="20577"/>
          <ac:spMkLst>
            <pc:docMk/>
            <pc:sldMk cId="2342603799" sldId="261"/>
            <ac:spMk id="20" creationId="{6E5E759F-9A0C-DBD7-49D6-B97506CA7C6D}"/>
          </ac:spMkLst>
        </pc:spChg>
        <pc:graphicFrameChg chg="mod">
          <ac:chgData name="Röskam, Leonie" userId="7344345d-483f-4870-a216-6410a6913f96" providerId="ADAL" clId="{CE42C183-9C60-43BB-AE19-0A61CD7184D8}" dt="2024-03-20T12:03:18.926" v="30" actId="20577"/>
          <ac:graphicFrameMkLst>
            <pc:docMk/>
            <pc:sldMk cId="2342603799" sldId="261"/>
            <ac:graphicFrameMk id="15" creationId="{424CAF1F-C200-8662-A901-03C95CF4F980}"/>
          </ac:graphicFrameMkLst>
        </pc:graphicFrameChg>
      </pc:sldChg>
      <pc:sldChg chg="addSp delSp modSp new del mod">
        <pc:chgData name="Röskam, Leonie" userId="7344345d-483f-4870-a216-6410a6913f96" providerId="ADAL" clId="{CE42C183-9C60-43BB-AE19-0A61CD7184D8}" dt="2024-03-21T12:53:59.474" v="466" actId="47"/>
        <pc:sldMkLst>
          <pc:docMk/>
          <pc:sldMk cId="1911326278" sldId="262"/>
        </pc:sldMkLst>
        <pc:spChg chg="del">
          <ac:chgData name="Röskam, Leonie" userId="7344345d-483f-4870-a216-6410a6913f96" providerId="ADAL" clId="{CE42C183-9C60-43BB-AE19-0A61CD7184D8}" dt="2024-03-21T12:52:47.948" v="449" actId="478"/>
          <ac:spMkLst>
            <pc:docMk/>
            <pc:sldMk cId="1911326278" sldId="262"/>
            <ac:spMk id="2" creationId="{1E5E1ACF-2137-FD52-8EC0-7F5440E12459}"/>
          </ac:spMkLst>
        </pc:spChg>
        <pc:spChg chg="del">
          <ac:chgData name="Röskam, Leonie" userId="7344345d-483f-4870-a216-6410a6913f96" providerId="ADAL" clId="{CE42C183-9C60-43BB-AE19-0A61CD7184D8}" dt="2024-03-21T12:52:49.954" v="450" actId="478"/>
          <ac:spMkLst>
            <pc:docMk/>
            <pc:sldMk cId="1911326278" sldId="262"/>
            <ac:spMk id="3" creationId="{1B517BA7-C58B-16C7-197F-183ED1A66860}"/>
          </ac:spMkLst>
        </pc:spChg>
        <pc:spChg chg="add del mod">
          <ac:chgData name="Röskam, Leonie" userId="7344345d-483f-4870-a216-6410a6913f96" providerId="ADAL" clId="{CE42C183-9C60-43BB-AE19-0A61CD7184D8}" dt="2024-03-21T12:53:27.324" v="464" actId="478"/>
          <ac:spMkLst>
            <pc:docMk/>
            <pc:sldMk cId="1911326278" sldId="262"/>
            <ac:spMk id="6" creationId="{EBA77A57-4B2C-FB14-71BC-54C6E2E343B6}"/>
          </ac:spMkLst>
        </pc:spChg>
      </pc:sldChg>
      <pc:sldChg chg="delSp new del mod">
        <pc:chgData name="Röskam, Leonie" userId="7344345d-483f-4870-a216-6410a6913f96" providerId="ADAL" clId="{CE42C183-9C60-43BB-AE19-0A61CD7184D8}" dt="2024-03-20T12:02:23.825" v="3" actId="47"/>
        <pc:sldMkLst>
          <pc:docMk/>
          <pc:sldMk cId="2120101197" sldId="262"/>
        </pc:sldMkLst>
        <pc:spChg chg="del">
          <ac:chgData name="Röskam, Leonie" userId="7344345d-483f-4870-a216-6410a6913f96" providerId="ADAL" clId="{CE42C183-9C60-43BB-AE19-0A61CD7184D8}" dt="2024-03-20T12:02:01.194" v="1" actId="478"/>
          <ac:spMkLst>
            <pc:docMk/>
            <pc:sldMk cId="2120101197" sldId="262"/>
            <ac:spMk id="2" creationId="{C7728514-2191-E8C9-9DB9-B386E2BED0FD}"/>
          </ac:spMkLst>
        </pc:spChg>
        <pc:spChg chg="del">
          <ac:chgData name="Röskam, Leonie" userId="7344345d-483f-4870-a216-6410a6913f96" providerId="ADAL" clId="{CE42C183-9C60-43BB-AE19-0A61CD7184D8}" dt="2024-03-20T12:02:04.697" v="2" actId="478"/>
          <ac:spMkLst>
            <pc:docMk/>
            <pc:sldMk cId="2120101197" sldId="262"/>
            <ac:spMk id="3" creationId="{529502FC-1217-E895-4AE6-24C042911BEB}"/>
          </ac:spMkLst>
        </pc:spChg>
      </pc:sldChg>
      <pc:sldChg chg="delSp modSp add mod">
        <pc:chgData name="Röskam, Leonie" userId="7344345d-483f-4870-a216-6410a6913f96" providerId="ADAL" clId="{CE42C183-9C60-43BB-AE19-0A61CD7184D8}" dt="2024-03-21T13:00:55.894" v="582" actId="2711"/>
        <pc:sldMkLst>
          <pc:docMk/>
          <pc:sldMk cId="3436698084" sldId="263"/>
        </pc:sldMkLst>
        <pc:spChg chg="del">
          <ac:chgData name="Röskam, Leonie" userId="7344345d-483f-4870-a216-6410a6913f96" providerId="ADAL" clId="{CE42C183-9C60-43BB-AE19-0A61CD7184D8}" dt="2024-03-21T12:54:13.081" v="474" actId="478"/>
          <ac:spMkLst>
            <pc:docMk/>
            <pc:sldMk cId="3436698084" sldId="263"/>
            <ac:spMk id="2" creationId="{E18F0B6A-2C65-9C3C-0EA9-3E07949B5700}"/>
          </ac:spMkLst>
        </pc:spChg>
        <pc:spChg chg="mod">
          <ac:chgData name="Röskam, Leonie" userId="7344345d-483f-4870-a216-6410a6913f96" providerId="ADAL" clId="{CE42C183-9C60-43BB-AE19-0A61CD7184D8}" dt="2024-03-21T12:54:04.272" v="473" actId="20577"/>
          <ac:spMkLst>
            <pc:docMk/>
            <pc:sldMk cId="3436698084" sldId="263"/>
            <ac:spMk id="7" creationId="{BB8A718B-8DDB-5645-8E75-D1FE26901B22}"/>
          </ac:spMkLst>
        </pc:spChg>
        <pc:spChg chg="mod">
          <ac:chgData name="Röskam, Leonie" userId="7344345d-483f-4870-a216-6410a6913f96" providerId="ADAL" clId="{CE42C183-9C60-43BB-AE19-0A61CD7184D8}" dt="2024-03-21T13:00:55.894" v="582" actId="2711"/>
          <ac:spMkLst>
            <pc:docMk/>
            <pc:sldMk cId="3436698084" sldId="263"/>
            <ac:spMk id="8" creationId="{E27132B3-9E28-2482-40F3-077435E483E3}"/>
          </ac:spMkLst>
        </pc:spChg>
        <pc:spChg chg="del">
          <ac:chgData name="Röskam, Leonie" userId="7344345d-483f-4870-a216-6410a6913f96" providerId="ADAL" clId="{CE42C183-9C60-43BB-AE19-0A61CD7184D8}" dt="2024-03-21T12:54:13.081" v="474" actId="478"/>
          <ac:spMkLst>
            <pc:docMk/>
            <pc:sldMk cId="3436698084" sldId="263"/>
            <ac:spMk id="17" creationId="{1AA0DCEC-4721-D790-821A-BAD320AEEC51}"/>
          </ac:spMkLst>
        </pc:spChg>
        <pc:spChg chg="del">
          <ac:chgData name="Röskam, Leonie" userId="7344345d-483f-4870-a216-6410a6913f96" providerId="ADAL" clId="{CE42C183-9C60-43BB-AE19-0A61CD7184D8}" dt="2024-03-21T12:54:13.081" v="474" actId="478"/>
          <ac:spMkLst>
            <pc:docMk/>
            <pc:sldMk cId="3436698084" sldId="263"/>
            <ac:spMk id="18" creationId="{FB645DB0-3E8A-309E-69C0-9A8D8A31D3D4}"/>
          </ac:spMkLst>
        </pc:spChg>
        <pc:spChg chg="del">
          <ac:chgData name="Röskam, Leonie" userId="7344345d-483f-4870-a216-6410a6913f96" providerId="ADAL" clId="{CE42C183-9C60-43BB-AE19-0A61CD7184D8}" dt="2024-03-21T12:54:13.081" v="474" actId="478"/>
          <ac:spMkLst>
            <pc:docMk/>
            <pc:sldMk cId="3436698084" sldId="263"/>
            <ac:spMk id="19" creationId="{92877AF0-612A-4ED4-B595-F79A2E521D19}"/>
          </ac:spMkLst>
        </pc:spChg>
        <pc:spChg chg="del">
          <ac:chgData name="Röskam, Leonie" userId="7344345d-483f-4870-a216-6410a6913f96" providerId="ADAL" clId="{CE42C183-9C60-43BB-AE19-0A61CD7184D8}" dt="2024-03-21T12:54:13.081" v="474" actId="478"/>
          <ac:spMkLst>
            <pc:docMk/>
            <pc:sldMk cId="3436698084" sldId="263"/>
            <ac:spMk id="20" creationId="{E20C2F88-E782-1A70-1311-38612BD4026E}"/>
          </ac:spMkLst>
        </pc:spChg>
        <pc:graphicFrameChg chg="del">
          <ac:chgData name="Röskam, Leonie" userId="7344345d-483f-4870-a216-6410a6913f96" providerId="ADAL" clId="{CE42C183-9C60-43BB-AE19-0A61CD7184D8}" dt="2024-03-21T12:54:13.081" v="474" actId="478"/>
          <ac:graphicFrameMkLst>
            <pc:docMk/>
            <pc:sldMk cId="3436698084" sldId="263"/>
            <ac:graphicFrameMk id="15" creationId="{56007BE6-49C0-1C8A-B269-7A5FF9372B07}"/>
          </ac:graphicFrameMkLst>
        </pc:graphicFrameChg>
        <pc:cxnChg chg="del">
          <ac:chgData name="Röskam, Leonie" userId="7344345d-483f-4870-a216-6410a6913f96" providerId="ADAL" clId="{CE42C183-9C60-43BB-AE19-0A61CD7184D8}" dt="2024-03-21T12:54:16.421" v="475" actId="478"/>
          <ac:cxnSpMkLst>
            <pc:docMk/>
            <pc:sldMk cId="3436698084" sldId="263"/>
            <ac:cxnSpMk id="16" creationId="{11350015-14E3-1EE4-CCFE-C4A868312D1C}"/>
          </ac:cxnSpMkLst>
        </pc:cxnChg>
        <pc:cxnChg chg="del">
          <ac:chgData name="Röskam, Leonie" userId="7344345d-483f-4870-a216-6410a6913f96" providerId="ADAL" clId="{CE42C183-9C60-43BB-AE19-0A61CD7184D8}" dt="2024-03-21T12:54:16.421" v="475" actId="478"/>
          <ac:cxnSpMkLst>
            <pc:docMk/>
            <pc:sldMk cId="3436698084" sldId="263"/>
            <ac:cxnSpMk id="21" creationId="{2F939EC0-F8BE-32D1-348E-9526C1AAD6F7}"/>
          </ac:cxnSpMkLst>
        </pc:cxnChg>
      </pc:sldChg>
    </pc:docChg>
  </pc:docChgLst>
  <pc:docChgLst>
    <pc:chgData name="Stammen, Anika" userId="dd30fd6b-d687-4c57-940e-602c84cbcae8" providerId="ADAL" clId="{CECD14D4-8122-FF41-8F71-4EA1E5937E65}"/>
    <pc:docChg chg="custSel modSld">
      <pc:chgData name="Stammen, Anika" userId="dd30fd6b-d687-4c57-940e-602c84cbcae8" providerId="ADAL" clId="{CECD14D4-8122-FF41-8F71-4EA1E5937E65}" dt="2024-03-20T23:43:45.763" v="54" actId="1076"/>
      <pc:docMkLst>
        <pc:docMk/>
      </pc:docMkLst>
      <pc:sldChg chg="modSp mod">
        <pc:chgData name="Stammen, Anika" userId="dd30fd6b-d687-4c57-940e-602c84cbcae8" providerId="ADAL" clId="{CECD14D4-8122-FF41-8F71-4EA1E5937E65}" dt="2024-03-19T21:43:42.620" v="0" actId="20577"/>
        <pc:sldMkLst>
          <pc:docMk/>
          <pc:sldMk cId="3252490408" sldId="256"/>
        </pc:sldMkLst>
        <pc:spChg chg="mod">
          <ac:chgData name="Stammen, Anika" userId="dd30fd6b-d687-4c57-940e-602c84cbcae8" providerId="ADAL" clId="{CECD14D4-8122-FF41-8F71-4EA1E5937E65}" dt="2024-03-19T21:43:42.620" v="0" actId="20577"/>
          <ac:spMkLst>
            <pc:docMk/>
            <pc:sldMk cId="3252490408" sldId="256"/>
            <ac:spMk id="4" creationId="{45B23A0F-49F9-BC5E-6884-AC9FA9C9DE87}"/>
          </ac:spMkLst>
        </pc:spChg>
      </pc:sldChg>
      <pc:sldChg chg="addSp delSp modSp mod">
        <pc:chgData name="Stammen, Anika" userId="dd30fd6b-d687-4c57-940e-602c84cbcae8" providerId="ADAL" clId="{CECD14D4-8122-FF41-8F71-4EA1E5937E65}" dt="2024-03-20T23:43:45.763" v="54" actId="1076"/>
        <pc:sldMkLst>
          <pc:docMk/>
          <pc:sldMk cId="1675125052" sldId="259"/>
        </pc:sldMkLst>
        <pc:picChg chg="del">
          <ac:chgData name="Stammen, Anika" userId="dd30fd6b-d687-4c57-940e-602c84cbcae8" providerId="ADAL" clId="{CECD14D4-8122-FF41-8F71-4EA1E5937E65}" dt="2024-03-20T23:42:39.948" v="43" actId="478"/>
          <ac:picMkLst>
            <pc:docMk/>
            <pc:sldMk cId="1675125052" sldId="259"/>
            <ac:picMk id="15" creationId="{9F01C074-7D4E-9064-63BF-BB07674097DC}"/>
          </ac:picMkLst>
        </pc:picChg>
        <pc:picChg chg="add">
          <ac:chgData name="Stammen, Anika" userId="dd30fd6b-d687-4c57-940e-602c84cbcae8" providerId="ADAL" clId="{CECD14D4-8122-FF41-8F71-4EA1E5937E65}" dt="2024-03-20T23:42:43.971" v="44"/>
          <ac:picMkLst>
            <pc:docMk/>
            <pc:sldMk cId="1675125052" sldId="259"/>
            <ac:picMk id="1026" creationId="{ABF265A9-3B6D-6231-B88F-0C5EBD153089}"/>
          </ac:picMkLst>
        </pc:picChg>
        <pc:picChg chg="add">
          <ac:chgData name="Stammen, Anika" userId="dd30fd6b-d687-4c57-940e-602c84cbcae8" providerId="ADAL" clId="{CECD14D4-8122-FF41-8F71-4EA1E5937E65}" dt="2024-03-20T23:42:54.203" v="45"/>
          <ac:picMkLst>
            <pc:docMk/>
            <pc:sldMk cId="1675125052" sldId="259"/>
            <ac:picMk id="1028" creationId="{BEEC7A63-2CBE-C83E-5DFE-C82875764474}"/>
          </ac:picMkLst>
        </pc:picChg>
        <pc:picChg chg="add mod">
          <ac:chgData name="Stammen, Anika" userId="dd30fd6b-d687-4c57-940e-602c84cbcae8" providerId="ADAL" clId="{CECD14D4-8122-FF41-8F71-4EA1E5937E65}" dt="2024-03-20T23:43:45.763" v="54" actId="1076"/>
          <ac:picMkLst>
            <pc:docMk/>
            <pc:sldMk cId="1675125052" sldId="259"/>
            <ac:picMk id="1030" creationId="{673CF2E8-6935-410B-CADE-ABCAB32927EF}"/>
          </ac:picMkLst>
        </pc:picChg>
      </pc:sldChg>
      <pc:sldChg chg="modSp mod">
        <pc:chgData name="Stammen, Anika" userId="dd30fd6b-d687-4c57-940e-602c84cbcae8" providerId="ADAL" clId="{CECD14D4-8122-FF41-8F71-4EA1E5937E65}" dt="2024-03-20T23:41:26.099" v="42" actId="20577"/>
        <pc:sldMkLst>
          <pc:docMk/>
          <pc:sldMk cId="2342603799" sldId="261"/>
        </pc:sldMkLst>
        <pc:spChg chg="mod">
          <ac:chgData name="Stammen, Anika" userId="dd30fd6b-d687-4c57-940e-602c84cbcae8" providerId="ADAL" clId="{CECD14D4-8122-FF41-8F71-4EA1E5937E65}" dt="2024-03-20T23:41:26.099" v="42" actId="20577"/>
          <ac:spMkLst>
            <pc:docMk/>
            <pc:sldMk cId="2342603799" sldId="261"/>
            <ac:spMk id="19" creationId="{AE48AD2E-3827-98FF-ABF8-5FF62608A5C7}"/>
          </ac:spMkLst>
        </pc:spChg>
      </pc:sldChg>
    </pc:docChg>
  </pc:docChgLst>
  <pc:docChgLst>
    <pc:chgData name="Willen, Lasse" userId="fbee9a94-e28e-4864-8f37-85125bc374b4" providerId="ADAL" clId="{67B70ED3-061D-BE45-A7FB-7C4E1A7C3351}"/>
    <pc:docChg chg="custSel modSld">
      <pc:chgData name="Willen, Lasse" userId="fbee9a94-e28e-4864-8f37-85125bc374b4" providerId="ADAL" clId="{67B70ED3-061D-BE45-A7FB-7C4E1A7C3351}" dt="2024-03-21T13:57:53.215" v="70" actId="12"/>
      <pc:docMkLst>
        <pc:docMk/>
      </pc:docMkLst>
      <pc:sldChg chg="modSp mod">
        <pc:chgData name="Willen, Lasse" userId="fbee9a94-e28e-4864-8f37-85125bc374b4" providerId="ADAL" clId="{67B70ED3-061D-BE45-A7FB-7C4E1A7C3351}" dt="2024-03-21T13:57:53.215" v="70" actId="12"/>
        <pc:sldMkLst>
          <pc:docMk/>
          <pc:sldMk cId="3234336945" sldId="257"/>
        </pc:sldMkLst>
        <pc:spChg chg="mod">
          <ac:chgData name="Willen, Lasse" userId="fbee9a94-e28e-4864-8f37-85125bc374b4" providerId="ADAL" clId="{67B70ED3-061D-BE45-A7FB-7C4E1A7C3351}" dt="2024-03-21T13:57:53.215" v="70" actId="12"/>
          <ac:spMkLst>
            <pc:docMk/>
            <pc:sldMk cId="3234336945" sldId="257"/>
            <ac:spMk id="50" creationId="{34E4354F-6C47-201F-2622-F2DC0520B95A}"/>
          </ac:spMkLst>
        </pc:spChg>
      </pc:sldChg>
      <pc:sldChg chg="delSp mod">
        <pc:chgData name="Willen, Lasse" userId="fbee9a94-e28e-4864-8f37-85125bc374b4" providerId="ADAL" clId="{67B70ED3-061D-BE45-A7FB-7C4E1A7C3351}" dt="2024-03-21T13:41:47.771" v="2" actId="478"/>
        <pc:sldMkLst>
          <pc:docMk/>
          <pc:sldMk cId="1675125052" sldId="259"/>
        </pc:sldMkLst>
        <pc:cxnChg chg="del">
          <ac:chgData name="Willen, Lasse" userId="fbee9a94-e28e-4864-8f37-85125bc374b4" providerId="ADAL" clId="{67B70ED3-061D-BE45-A7FB-7C4E1A7C3351}" dt="2024-03-21T13:41:45.806" v="1" actId="478"/>
          <ac:cxnSpMkLst>
            <pc:docMk/>
            <pc:sldMk cId="1675125052" sldId="259"/>
            <ac:cxnSpMk id="17" creationId="{7517446C-5030-BF59-734C-E3D9E11D46A7}"/>
          </ac:cxnSpMkLst>
        </pc:cxnChg>
        <pc:cxnChg chg="del">
          <ac:chgData name="Willen, Lasse" userId="fbee9a94-e28e-4864-8f37-85125bc374b4" providerId="ADAL" clId="{67B70ED3-061D-BE45-A7FB-7C4E1A7C3351}" dt="2024-03-21T13:41:40.297" v="0" actId="478"/>
          <ac:cxnSpMkLst>
            <pc:docMk/>
            <pc:sldMk cId="1675125052" sldId="259"/>
            <ac:cxnSpMk id="18" creationId="{B21246EB-DAFA-D099-FF1F-3A3ADB9C8503}"/>
          </ac:cxnSpMkLst>
        </pc:cxnChg>
        <pc:cxnChg chg="del">
          <ac:chgData name="Willen, Lasse" userId="fbee9a94-e28e-4864-8f37-85125bc374b4" providerId="ADAL" clId="{67B70ED3-061D-BE45-A7FB-7C4E1A7C3351}" dt="2024-03-21T13:41:47.771" v="2" actId="478"/>
          <ac:cxnSpMkLst>
            <pc:docMk/>
            <pc:sldMk cId="1675125052" sldId="259"/>
            <ac:cxnSpMk id="19" creationId="{1788B0C1-0B11-D13E-560E-F3B3BE96B4E3}"/>
          </ac:cxnSpMkLst>
        </pc:cxnChg>
      </pc:sldChg>
    </pc:docChg>
  </pc:docChgLst>
  <pc:docChgLst>
    <pc:chgData name="Willen, Lasse" userId="fbee9a94-e28e-4864-8f37-85125bc374b4" providerId="ADAL" clId="{18204BCC-4C04-484F-A6BB-EDB3E1F86A45}"/>
    <pc:docChg chg="undo custSel addSld delSld modSld sldOrd">
      <pc:chgData name="Willen, Lasse" userId="fbee9a94-e28e-4864-8f37-85125bc374b4" providerId="ADAL" clId="{18204BCC-4C04-484F-A6BB-EDB3E1F86A45}" dt="2024-03-20T14:28:08.284" v="3049" actId="20577"/>
      <pc:docMkLst>
        <pc:docMk/>
      </pc:docMkLst>
      <pc:sldChg chg="modSp mod">
        <pc:chgData name="Willen, Lasse" userId="fbee9a94-e28e-4864-8f37-85125bc374b4" providerId="ADAL" clId="{18204BCC-4C04-484F-A6BB-EDB3E1F86A45}" dt="2024-03-19T17:06:01.710" v="3046" actId="404"/>
        <pc:sldMkLst>
          <pc:docMk/>
          <pc:sldMk cId="3252490408" sldId="256"/>
        </pc:sldMkLst>
        <pc:spChg chg="mod">
          <ac:chgData name="Willen, Lasse" userId="fbee9a94-e28e-4864-8f37-85125bc374b4" providerId="ADAL" clId="{18204BCC-4C04-484F-A6BB-EDB3E1F86A45}" dt="2024-03-19T17:06:01.710" v="3046" actId="404"/>
          <ac:spMkLst>
            <pc:docMk/>
            <pc:sldMk cId="3252490408" sldId="256"/>
            <ac:spMk id="3" creationId="{EE1DD93C-5885-8408-D17A-8CB610B2FF9E}"/>
          </ac:spMkLst>
        </pc:spChg>
        <pc:spChg chg="mod">
          <ac:chgData name="Willen, Lasse" userId="fbee9a94-e28e-4864-8f37-85125bc374b4" providerId="ADAL" clId="{18204BCC-4C04-484F-A6BB-EDB3E1F86A45}" dt="2024-03-19T17:05:53.598" v="3043" actId="20577"/>
          <ac:spMkLst>
            <pc:docMk/>
            <pc:sldMk cId="3252490408" sldId="256"/>
            <ac:spMk id="4" creationId="{45B23A0F-49F9-BC5E-6884-AC9FA9C9DE87}"/>
          </ac:spMkLst>
        </pc:spChg>
      </pc:sldChg>
      <pc:sldChg chg="addSp delSp modSp new mod modClrScheme chgLayout">
        <pc:chgData name="Willen, Lasse" userId="fbee9a94-e28e-4864-8f37-85125bc374b4" providerId="ADAL" clId="{18204BCC-4C04-484F-A6BB-EDB3E1F86A45}" dt="2024-03-19T16:50:35.229" v="2546" actId="20577"/>
        <pc:sldMkLst>
          <pc:docMk/>
          <pc:sldMk cId="3234336945" sldId="257"/>
        </pc:sldMkLst>
        <pc:spChg chg="del mod ord">
          <ac:chgData name="Willen, Lasse" userId="fbee9a94-e28e-4864-8f37-85125bc374b4" providerId="ADAL" clId="{18204BCC-4C04-484F-A6BB-EDB3E1F86A45}" dt="2024-03-19T14:45:08.935" v="2" actId="700"/>
          <ac:spMkLst>
            <pc:docMk/>
            <pc:sldMk cId="3234336945" sldId="257"/>
            <ac:spMk id="2" creationId="{30BFE776-3B65-BDA6-98AB-123A4BB5CCE3}"/>
          </ac:spMkLst>
        </pc:spChg>
        <pc:spChg chg="mod topLvl">
          <ac:chgData name="Willen, Lasse" userId="fbee9a94-e28e-4864-8f37-85125bc374b4" providerId="ADAL" clId="{18204BCC-4C04-484F-A6BB-EDB3E1F86A45}" dt="2024-03-19T15:51:58.048" v="1813" actId="692"/>
          <ac:spMkLst>
            <pc:docMk/>
            <pc:sldMk cId="3234336945" sldId="257"/>
            <ac:spMk id="2" creationId="{F60F1B1F-8F46-F2B1-D706-A14C145DA2EE}"/>
          </ac:spMkLst>
        </pc:spChg>
        <pc:spChg chg="del mod ord">
          <ac:chgData name="Willen, Lasse" userId="fbee9a94-e28e-4864-8f37-85125bc374b4" providerId="ADAL" clId="{18204BCC-4C04-484F-A6BB-EDB3E1F86A45}" dt="2024-03-19T14:45:08.935" v="2" actId="700"/>
          <ac:spMkLst>
            <pc:docMk/>
            <pc:sldMk cId="3234336945" sldId="257"/>
            <ac:spMk id="3" creationId="{3BE293C9-3A3E-19C0-7A0C-2E7387C9866E}"/>
          </ac:spMkLst>
        </pc:spChg>
        <pc:spChg chg="mod topLvl">
          <ac:chgData name="Willen, Lasse" userId="fbee9a94-e28e-4864-8f37-85125bc374b4" providerId="ADAL" clId="{18204BCC-4C04-484F-A6BB-EDB3E1F86A45}" dt="2024-03-19T15:51:58.048" v="1813" actId="692"/>
          <ac:spMkLst>
            <pc:docMk/>
            <pc:sldMk cId="3234336945" sldId="257"/>
            <ac:spMk id="3" creationId="{79FBC0A5-086C-2528-CEA1-E8F73EB9FE9E}"/>
          </ac:spMkLst>
        </pc:spChg>
        <pc:spChg chg="del">
          <ac:chgData name="Willen, Lasse" userId="fbee9a94-e28e-4864-8f37-85125bc374b4" providerId="ADAL" clId="{18204BCC-4C04-484F-A6BB-EDB3E1F86A45}" dt="2024-03-19T14:45:08.935" v="2" actId="700"/>
          <ac:spMkLst>
            <pc:docMk/>
            <pc:sldMk cId="3234336945" sldId="257"/>
            <ac:spMk id="4" creationId="{A693B20A-B3E7-506B-A4EE-9E411EEF0618}"/>
          </ac:spMkLst>
        </pc:spChg>
        <pc:spChg chg="mod ord">
          <ac:chgData name="Willen, Lasse" userId="fbee9a94-e28e-4864-8f37-85125bc374b4" providerId="ADAL" clId="{18204BCC-4C04-484F-A6BB-EDB3E1F86A45}" dt="2024-03-19T14:45:08.935" v="2" actId="700"/>
          <ac:spMkLst>
            <pc:docMk/>
            <pc:sldMk cId="3234336945" sldId="257"/>
            <ac:spMk id="5" creationId="{1369061D-B89C-1F9E-69F7-4A5BEA144B1C}"/>
          </ac:spMkLst>
        </pc:spChg>
        <pc:spChg chg="add mod">
          <ac:chgData name="Willen, Lasse" userId="fbee9a94-e28e-4864-8f37-85125bc374b4" providerId="ADAL" clId="{18204BCC-4C04-484F-A6BB-EDB3E1F86A45}" dt="2024-03-19T14:44:57.307" v="1" actId="767"/>
          <ac:spMkLst>
            <pc:docMk/>
            <pc:sldMk cId="3234336945" sldId="257"/>
            <ac:spMk id="6" creationId="{5AA4CEF8-2395-ACBE-2DB8-54232815C1AD}"/>
          </ac:spMkLst>
        </pc:spChg>
        <pc:spChg chg="add mod ord">
          <ac:chgData name="Willen, Lasse" userId="fbee9a94-e28e-4864-8f37-85125bc374b4" providerId="ADAL" clId="{18204BCC-4C04-484F-A6BB-EDB3E1F86A45}" dt="2024-03-19T14:45:08.935" v="2" actId="700"/>
          <ac:spMkLst>
            <pc:docMk/>
            <pc:sldMk cId="3234336945" sldId="257"/>
            <ac:spMk id="7" creationId="{1374A8CC-6938-2639-86C0-8AC95B4FD82C}"/>
          </ac:spMkLst>
        </pc:spChg>
        <pc:spChg chg="add mod ord">
          <ac:chgData name="Willen, Lasse" userId="fbee9a94-e28e-4864-8f37-85125bc374b4" providerId="ADAL" clId="{18204BCC-4C04-484F-A6BB-EDB3E1F86A45}" dt="2024-03-19T14:49:35.146" v="119" actId="20577"/>
          <ac:spMkLst>
            <pc:docMk/>
            <pc:sldMk cId="3234336945" sldId="257"/>
            <ac:spMk id="8" creationId="{C086EEA7-B14E-C540-30CD-D037C0384104}"/>
          </ac:spMkLst>
        </pc:spChg>
        <pc:spChg chg="add mod">
          <ac:chgData name="Willen, Lasse" userId="fbee9a94-e28e-4864-8f37-85125bc374b4" providerId="ADAL" clId="{18204BCC-4C04-484F-A6BB-EDB3E1F86A45}" dt="2024-03-19T14:45:44.627" v="22" actId="20577"/>
          <ac:spMkLst>
            <pc:docMk/>
            <pc:sldMk cId="3234336945" sldId="257"/>
            <ac:spMk id="9" creationId="{5A502BDD-4FBE-346E-C26B-777B56071C97}"/>
          </ac:spMkLst>
        </pc:spChg>
        <pc:spChg chg="mod topLvl">
          <ac:chgData name="Willen, Lasse" userId="fbee9a94-e28e-4864-8f37-85125bc374b4" providerId="ADAL" clId="{18204BCC-4C04-484F-A6BB-EDB3E1F86A45}" dt="2024-03-19T15:51:58.048" v="1813" actId="692"/>
          <ac:spMkLst>
            <pc:docMk/>
            <pc:sldMk cId="3234336945" sldId="257"/>
            <ac:spMk id="9" creationId="{DE492918-6D01-9E31-6319-A7175FED4AB0}"/>
          </ac:spMkLst>
        </pc:spChg>
        <pc:spChg chg="mod topLvl">
          <ac:chgData name="Willen, Lasse" userId="fbee9a94-e28e-4864-8f37-85125bc374b4" providerId="ADAL" clId="{18204BCC-4C04-484F-A6BB-EDB3E1F86A45}" dt="2024-03-19T15:51:58.048" v="1813" actId="692"/>
          <ac:spMkLst>
            <pc:docMk/>
            <pc:sldMk cId="3234336945" sldId="257"/>
            <ac:spMk id="11" creationId="{728F5BC6-1FDB-76AA-7EFA-C6F5E5A5B5F3}"/>
          </ac:spMkLst>
        </pc:spChg>
        <pc:spChg chg="add mod">
          <ac:chgData name="Willen, Lasse" userId="fbee9a94-e28e-4864-8f37-85125bc374b4" providerId="ADAL" clId="{18204BCC-4C04-484F-A6BB-EDB3E1F86A45}" dt="2024-03-19T16:04:07.819" v="2183" actId="14100"/>
          <ac:spMkLst>
            <pc:docMk/>
            <pc:sldMk cId="3234336945" sldId="257"/>
            <ac:spMk id="23" creationId="{ADE258D5-7CF7-D3AD-852C-FFC197A9EE4B}"/>
          </ac:spMkLst>
        </pc:spChg>
        <pc:spChg chg="mod topLvl">
          <ac:chgData name="Willen, Lasse" userId="fbee9a94-e28e-4864-8f37-85125bc374b4" providerId="ADAL" clId="{18204BCC-4C04-484F-A6BB-EDB3E1F86A45}" dt="2024-03-19T15:50:38.427" v="1804" actId="165"/>
          <ac:spMkLst>
            <pc:docMk/>
            <pc:sldMk cId="3234336945" sldId="257"/>
            <ac:spMk id="25" creationId="{7AF60A61-1DA1-60B2-7CCC-6682B956F6FC}"/>
          </ac:spMkLst>
        </pc:spChg>
        <pc:spChg chg="mod topLvl">
          <ac:chgData name="Willen, Lasse" userId="fbee9a94-e28e-4864-8f37-85125bc374b4" providerId="ADAL" clId="{18204BCC-4C04-484F-A6BB-EDB3E1F86A45}" dt="2024-03-19T15:50:49.316" v="1806" actId="165"/>
          <ac:spMkLst>
            <pc:docMk/>
            <pc:sldMk cId="3234336945" sldId="257"/>
            <ac:spMk id="26" creationId="{833040AD-C425-4315-ECF8-A05DEC77D736}"/>
          </ac:spMkLst>
        </pc:spChg>
        <pc:spChg chg="mod topLvl">
          <ac:chgData name="Willen, Lasse" userId="fbee9a94-e28e-4864-8f37-85125bc374b4" providerId="ADAL" clId="{18204BCC-4C04-484F-A6BB-EDB3E1F86A45}" dt="2024-03-19T15:50:53.189" v="1807" actId="165"/>
          <ac:spMkLst>
            <pc:docMk/>
            <pc:sldMk cId="3234336945" sldId="257"/>
            <ac:spMk id="27" creationId="{085F1ED6-64CA-26AD-95FE-5BF48FC7FDD2}"/>
          </ac:spMkLst>
        </pc:spChg>
        <pc:spChg chg="topLvl">
          <ac:chgData name="Willen, Lasse" userId="fbee9a94-e28e-4864-8f37-85125bc374b4" providerId="ADAL" clId="{18204BCC-4C04-484F-A6BB-EDB3E1F86A45}" dt="2024-03-19T15:50:44.603" v="1805" actId="165"/>
          <ac:spMkLst>
            <pc:docMk/>
            <pc:sldMk cId="3234336945" sldId="257"/>
            <ac:spMk id="28" creationId="{F59C099C-83F9-C2BE-C41E-348A9C30503B}"/>
          </ac:spMkLst>
        </pc:spChg>
        <pc:spChg chg="mod">
          <ac:chgData name="Willen, Lasse" userId="fbee9a94-e28e-4864-8f37-85125bc374b4" providerId="ADAL" clId="{18204BCC-4C04-484F-A6BB-EDB3E1F86A45}" dt="2024-03-19T16:03:23.582" v="2177" actId="1036"/>
          <ac:spMkLst>
            <pc:docMk/>
            <pc:sldMk cId="3234336945" sldId="257"/>
            <ac:spMk id="30" creationId="{732ED7A2-ABD7-8169-484F-2D9A98D0465C}"/>
          </ac:spMkLst>
        </pc:spChg>
        <pc:spChg chg="add del mod">
          <ac:chgData name="Willen, Lasse" userId="fbee9a94-e28e-4864-8f37-85125bc374b4" providerId="ADAL" clId="{18204BCC-4C04-484F-A6BB-EDB3E1F86A45}" dt="2024-03-19T15:26:30.958" v="924" actId="478"/>
          <ac:spMkLst>
            <pc:docMk/>
            <pc:sldMk cId="3234336945" sldId="257"/>
            <ac:spMk id="30" creationId="{877A930A-4A7A-987D-C557-7ADBF8F405CE}"/>
          </ac:spMkLst>
        </pc:spChg>
        <pc:spChg chg="add del mod">
          <ac:chgData name="Willen, Lasse" userId="fbee9a94-e28e-4864-8f37-85125bc374b4" providerId="ADAL" clId="{18204BCC-4C04-484F-A6BB-EDB3E1F86A45}" dt="2024-03-19T15:26:11.459" v="921" actId="478"/>
          <ac:spMkLst>
            <pc:docMk/>
            <pc:sldMk cId="3234336945" sldId="257"/>
            <ac:spMk id="31" creationId="{F35EAB88-16C8-6A22-CF60-2C6EAC4BC9CA}"/>
          </ac:spMkLst>
        </pc:spChg>
        <pc:spChg chg="mod">
          <ac:chgData name="Willen, Lasse" userId="fbee9a94-e28e-4864-8f37-85125bc374b4" providerId="ADAL" clId="{18204BCC-4C04-484F-A6BB-EDB3E1F86A45}" dt="2024-03-19T16:04:17.579" v="2184" actId="13926"/>
          <ac:spMkLst>
            <pc:docMk/>
            <pc:sldMk cId="3234336945" sldId="257"/>
            <ac:spMk id="32" creationId="{47810378-0DB6-8998-37EF-C971BD9E37C7}"/>
          </ac:spMkLst>
        </pc:spChg>
        <pc:spChg chg="add del mod">
          <ac:chgData name="Willen, Lasse" userId="fbee9a94-e28e-4864-8f37-85125bc374b4" providerId="ADAL" clId="{18204BCC-4C04-484F-A6BB-EDB3E1F86A45}" dt="2024-03-19T15:26:11.459" v="921" actId="478"/>
          <ac:spMkLst>
            <pc:docMk/>
            <pc:sldMk cId="3234336945" sldId="257"/>
            <ac:spMk id="32" creationId="{FB92BC10-5728-6DD1-455D-821F655A8C89}"/>
          </ac:spMkLst>
        </pc:spChg>
        <pc:spChg chg="add del mod">
          <ac:chgData name="Willen, Lasse" userId="fbee9a94-e28e-4864-8f37-85125bc374b4" providerId="ADAL" clId="{18204BCC-4C04-484F-A6BB-EDB3E1F86A45}" dt="2024-03-19T15:26:11.459" v="921" actId="478"/>
          <ac:spMkLst>
            <pc:docMk/>
            <pc:sldMk cId="3234336945" sldId="257"/>
            <ac:spMk id="33" creationId="{07159A72-B47D-1F82-6F85-D598B55CB456}"/>
          </ac:spMkLst>
        </pc:spChg>
        <pc:spChg chg="add del mod">
          <ac:chgData name="Willen, Lasse" userId="fbee9a94-e28e-4864-8f37-85125bc374b4" providerId="ADAL" clId="{18204BCC-4C04-484F-A6BB-EDB3E1F86A45}" dt="2024-03-19T15:26:08.863" v="920" actId="478"/>
          <ac:spMkLst>
            <pc:docMk/>
            <pc:sldMk cId="3234336945" sldId="257"/>
            <ac:spMk id="34" creationId="{BA966D82-185C-58B1-7867-D9145C51949A}"/>
          </ac:spMkLst>
        </pc:spChg>
        <pc:spChg chg="add del mod">
          <ac:chgData name="Willen, Lasse" userId="fbee9a94-e28e-4864-8f37-85125bc374b4" providerId="ADAL" clId="{18204BCC-4C04-484F-A6BB-EDB3E1F86A45}" dt="2024-03-19T15:26:11.459" v="921" actId="478"/>
          <ac:spMkLst>
            <pc:docMk/>
            <pc:sldMk cId="3234336945" sldId="257"/>
            <ac:spMk id="35" creationId="{533A41D7-10E1-33CA-C741-7134AE35A010}"/>
          </ac:spMkLst>
        </pc:spChg>
        <pc:spChg chg="mod">
          <ac:chgData name="Willen, Lasse" userId="fbee9a94-e28e-4864-8f37-85125bc374b4" providerId="ADAL" clId="{18204BCC-4C04-484F-A6BB-EDB3E1F86A45}" dt="2024-03-19T16:04:17.579" v="2184" actId="13926"/>
          <ac:spMkLst>
            <pc:docMk/>
            <pc:sldMk cId="3234336945" sldId="257"/>
            <ac:spMk id="36" creationId="{302D68F2-5233-6F26-F504-B3E0CC13D582}"/>
          </ac:spMkLst>
        </pc:spChg>
        <pc:spChg chg="add del mod">
          <ac:chgData name="Willen, Lasse" userId="fbee9a94-e28e-4864-8f37-85125bc374b4" providerId="ADAL" clId="{18204BCC-4C04-484F-A6BB-EDB3E1F86A45}" dt="2024-03-19T15:26:08.863" v="920" actId="478"/>
          <ac:spMkLst>
            <pc:docMk/>
            <pc:sldMk cId="3234336945" sldId="257"/>
            <ac:spMk id="36" creationId="{771A0906-AA8D-1E33-D80A-002106C948A0}"/>
          </ac:spMkLst>
        </pc:spChg>
        <pc:spChg chg="mod">
          <ac:chgData name="Willen, Lasse" userId="fbee9a94-e28e-4864-8f37-85125bc374b4" providerId="ADAL" clId="{18204BCC-4C04-484F-A6BB-EDB3E1F86A45}" dt="2024-03-19T16:04:17.579" v="2184" actId="13926"/>
          <ac:spMkLst>
            <pc:docMk/>
            <pc:sldMk cId="3234336945" sldId="257"/>
            <ac:spMk id="37" creationId="{5CF944F3-EB0E-0B4D-35FD-041879DA8335}"/>
          </ac:spMkLst>
        </pc:spChg>
        <pc:spChg chg="add del mod">
          <ac:chgData name="Willen, Lasse" userId="fbee9a94-e28e-4864-8f37-85125bc374b4" providerId="ADAL" clId="{18204BCC-4C04-484F-A6BB-EDB3E1F86A45}" dt="2024-03-19T16:04:17.579" v="2184" actId="13926"/>
          <ac:spMkLst>
            <pc:docMk/>
            <pc:sldMk cId="3234336945" sldId="257"/>
            <ac:spMk id="38" creationId="{77B89E85-9AEB-FD2F-BB0F-D5CCD5064E41}"/>
          </ac:spMkLst>
        </pc:spChg>
        <pc:spChg chg="add mod">
          <ac:chgData name="Willen, Lasse" userId="fbee9a94-e28e-4864-8f37-85125bc374b4" providerId="ADAL" clId="{18204BCC-4C04-484F-A6BB-EDB3E1F86A45}" dt="2024-03-19T15:26:50.678" v="970" actId="20577"/>
          <ac:spMkLst>
            <pc:docMk/>
            <pc:sldMk cId="3234336945" sldId="257"/>
            <ac:spMk id="41" creationId="{671F2157-E3A8-74BE-E8A6-519D79F6F157}"/>
          </ac:spMkLst>
        </pc:spChg>
        <pc:spChg chg="add mod">
          <ac:chgData name="Willen, Lasse" userId="fbee9a94-e28e-4864-8f37-85125bc374b4" providerId="ADAL" clId="{18204BCC-4C04-484F-A6BB-EDB3E1F86A45}" dt="2024-03-19T15:48:55.227" v="1795" actId="14100"/>
          <ac:spMkLst>
            <pc:docMk/>
            <pc:sldMk cId="3234336945" sldId="257"/>
            <ac:spMk id="44" creationId="{2B258DBB-D630-0A79-DA77-7B71C538F527}"/>
          </ac:spMkLst>
        </pc:spChg>
        <pc:spChg chg="add mod">
          <ac:chgData name="Willen, Lasse" userId="fbee9a94-e28e-4864-8f37-85125bc374b4" providerId="ADAL" clId="{18204BCC-4C04-484F-A6BB-EDB3E1F86A45}" dt="2024-03-19T15:45:47.176" v="1787" actId="207"/>
          <ac:spMkLst>
            <pc:docMk/>
            <pc:sldMk cId="3234336945" sldId="257"/>
            <ac:spMk id="45" creationId="{279C0A90-B026-034A-21E5-B5A40A97A8C6}"/>
          </ac:spMkLst>
        </pc:spChg>
        <pc:spChg chg="add mod">
          <ac:chgData name="Willen, Lasse" userId="fbee9a94-e28e-4864-8f37-85125bc374b4" providerId="ADAL" clId="{18204BCC-4C04-484F-A6BB-EDB3E1F86A45}" dt="2024-03-19T15:54:02.598" v="1840" actId="948"/>
          <ac:spMkLst>
            <pc:docMk/>
            <pc:sldMk cId="3234336945" sldId="257"/>
            <ac:spMk id="47" creationId="{835C69BE-03F4-2FA2-CC30-02BAF83D3EC5}"/>
          </ac:spMkLst>
        </pc:spChg>
        <pc:spChg chg="add mod">
          <ac:chgData name="Willen, Lasse" userId="fbee9a94-e28e-4864-8f37-85125bc374b4" providerId="ADAL" clId="{18204BCC-4C04-484F-A6BB-EDB3E1F86A45}" dt="2024-03-19T15:48:46.634" v="1792" actId="14100"/>
          <ac:spMkLst>
            <pc:docMk/>
            <pc:sldMk cId="3234336945" sldId="257"/>
            <ac:spMk id="48" creationId="{147F6967-7758-4966-B5E2-0F7C183B3A55}"/>
          </ac:spMkLst>
        </pc:spChg>
        <pc:spChg chg="add mod">
          <ac:chgData name="Willen, Lasse" userId="fbee9a94-e28e-4864-8f37-85125bc374b4" providerId="ADAL" clId="{18204BCC-4C04-484F-A6BB-EDB3E1F86A45}" dt="2024-03-19T15:44:09.231" v="1776" actId="208"/>
          <ac:spMkLst>
            <pc:docMk/>
            <pc:sldMk cId="3234336945" sldId="257"/>
            <ac:spMk id="49" creationId="{CD576789-2C17-EC58-3F70-0AC56BFB05A8}"/>
          </ac:spMkLst>
        </pc:spChg>
        <pc:spChg chg="add mod">
          <ac:chgData name="Willen, Lasse" userId="fbee9a94-e28e-4864-8f37-85125bc374b4" providerId="ADAL" clId="{18204BCC-4C04-484F-A6BB-EDB3E1F86A45}" dt="2024-03-19T16:50:35.229" v="2546" actId="20577"/>
          <ac:spMkLst>
            <pc:docMk/>
            <pc:sldMk cId="3234336945" sldId="257"/>
            <ac:spMk id="50" creationId="{34E4354F-6C47-201F-2622-F2DC0520B95A}"/>
          </ac:spMkLst>
        </pc:spChg>
        <pc:spChg chg="add mod">
          <ac:chgData name="Willen, Lasse" userId="fbee9a94-e28e-4864-8f37-85125bc374b4" providerId="ADAL" clId="{18204BCC-4C04-484F-A6BB-EDB3E1F86A45}" dt="2024-03-19T15:48:49.671" v="1793" actId="14100"/>
          <ac:spMkLst>
            <pc:docMk/>
            <pc:sldMk cId="3234336945" sldId="257"/>
            <ac:spMk id="52" creationId="{AD7B5BE8-E1C9-EFAA-C91F-39A111BBC438}"/>
          </ac:spMkLst>
        </pc:spChg>
        <pc:spChg chg="add mod">
          <ac:chgData name="Willen, Lasse" userId="fbee9a94-e28e-4864-8f37-85125bc374b4" providerId="ADAL" clId="{18204BCC-4C04-484F-A6BB-EDB3E1F86A45}" dt="2024-03-19T15:44:09.231" v="1776" actId="208"/>
          <ac:spMkLst>
            <pc:docMk/>
            <pc:sldMk cId="3234336945" sldId="257"/>
            <ac:spMk id="53" creationId="{CDD5F004-8794-6181-EE37-A49954D48C7A}"/>
          </ac:spMkLst>
        </pc:spChg>
        <pc:spChg chg="add del mod">
          <ac:chgData name="Willen, Lasse" userId="fbee9a94-e28e-4864-8f37-85125bc374b4" providerId="ADAL" clId="{18204BCC-4C04-484F-A6BB-EDB3E1F86A45}" dt="2024-03-19T15:54:02.598" v="1840" actId="948"/>
          <ac:spMkLst>
            <pc:docMk/>
            <pc:sldMk cId="3234336945" sldId="257"/>
            <ac:spMk id="54" creationId="{5C1A0185-66D7-84FE-9B16-3FB0AFBD914B}"/>
          </ac:spMkLst>
        </pc:spChg>
        <pc:grpChg chg="del topLvl">
          <ac:chgData name="Willen, Lasse" userId="fbee9a94-e28e-4864-8f37-85125bc374b4" providerId="ADAL" clId="{18204BCC-4C04-484F-A6BB-EDB3E1F86A45}" dt="2024-03-19T15:51:03.389" v="1808" actId="165"/>
          <ac:grpSpMkLst>
            <pc:docMk/>
            <pc:sldMk cId="3234336945" sldId="257"/>
            <ac:grpSpMk id="13" creationId="{0CC884AD-7493-DD31-7064-63AF3C53E454}"/>
          </ac:grpSpMkLst>
        </pc:grpChg>
        <pc:grpChg chg="del topLvl">
          <ac:chgData name="Willen, Lasse" userId="fbee9a94-e28e-4864-8f37-85125bc374b4" providerId="ADAL" clId="{18204BCC-4C04-484F-A6BB-EDB3E1F86A45}" dt="2024-03-19T15:51:13.626" v="1811" actId="165"/>
          <ac:grpSpMkLst>
            <pc:docMk/>
            <pc:sldMk cId="3234336945" sldId="257"/>
            <ac:grpSpMk id="14" creationId="{0C66218F-18F0-2593-388B-8AA1801AC0D3}"/>
          </ac:grpSpMkLst>
        </pc:grpChg>
        <pc:grpChg chg="del topLvl">
          <ac:chgData name="Willen, Lasse" userId="fbee9a94-e28e-4864-8f37-85125bc374b4" providerId="ADAL" clId="{18204BCC-4C04-484F-A6BB-EDB3E1F86A45}" dt="2024-03-19T15:51:06.776" v="1809" actId="165"/>
          <ac:grpSpMkLst>
            <pc:docMk/>
            <pc:sldMk cId="3234336945" sldId="257"/>
            <ac:grpSpMk id="15" creationId="{D96FA495-40D2-C669-CD04-BD1B3ADFF33F}"/>
          </ac:grpSpMkLst>
        </pc:grpChg>
        <pc:grpChg chg="del topLvl">
          <ac:chgData name="Willen, Lasse" userId="fbee9a94-e28e-4864-8f37-85125bc374b4" providerId="ADAL" clId="{18204BCC-4C04-484F-A6BB-EDB3E1F86A45}" dt="2024-03-19T15:51:09.639" v="1810" actId="165"/>
          <ac:grpSpMkLst>
            <pc:docMk/>
            <pc:sldMk cId="3234336945" sldId="257"/>
            <ac:grpSpMk id="16" creationId="{CC8655C5-7ED8-D6AD-E392-29D7DCC5672B}"/>
          </ac:grpSpMkLst>
        </pc:grpChg>
        <pc:grpChg chg="del mod">
          <ac:chgData name="Willen, Lasse" userId="fbee9a94-e28e-4864-8f37-85125bc374b4" providerId="ADAL" clId="{18204BCC-4C04-484F-A6BB-EDB3E1F86A45}" dt="2024-03-19T15:50:38.427" v="1804" actId="165"/>
          <ac:grpSpMkLst>
            <pc:docMk/>
            <pc:sldMk cId="3234336945" sldId="257"/>
            <ac:grpSpMk id="17" creationId="{370ED8CE-1B56-1C37-F28E-FDC1287439A3}"/>
          </ac:grpSpMkLst>
        </pc:grpChg>
        <pc:grpChg chg="del mod">
          <ac:chgData name="Willen, Lasse" userId="fbee9a94-e28e-4864-8f37-85125bc374b4" providerId="ADAL" clId="{18204BCC-4C04-484F-A6BB-EDB3E1F86A45}" dt="2024-03-19T15:50:44.603" v="1805" actId="165"/>
          <ac:grpSpMkLst>
            <pc:docMk/>
            <pc:sldMk cId="3234336945" sldId="257"/>
            <ac:grpSpMk id="19" creationId="{33D32BB2-AB84-910C-6756-27ED94852674}"/>
          </ac:grpSpMkLst>
        </pc:grpChg>
        <pc:grpChg chg="del mod">
          <ac:chgData name="Willen, Lasse" userId="fbee9a94-e28e-4864-8f37-85125bc374b4" providerId="ADAL" clId="{18204BCC-4C04-484F-A6BB-EDB3E1F86A45}" dt="2024-03-19T15:50:53.189" v="1807" actId="165"/>
          <ac:grpSpMkLst>
            <pc:docMk/>
            <pc:sldMk cId="3234336945" sldId="257"/>
            <ac:grpSpMk id="20" creationId="{37C5AC8A-7E4A-FC22-0BD0-4AC1599D423A}"/>
          </ac:grpSpMkLst>
        </pc:grpChg>
        <pc:grpChg chg="del mod">
          <ac:chgData name="Willen, Lasse" userId="fbee9a94-e28e-4864-8f37-85125bc374b4" providerId="ADAL" clId="{18204BCC-4C04-484F-A6BB-EDB3E1F86A45}" dt="2024-03-19T15:50:49.316" v="1806" actId="165"/>
          <ac:grpSpMkLst>
            <pc:docMk/>
            <pc:sldMk cId="3234336945" sldId="257"/>
            <ac:grpSpMk id="21" creationId="{C8496607-B366-7E66-F092-D1233080795B}"/>
          </ac:grpSpMkLst>
        </pc:grpChg>
        <pc:picChg chg="add mod">
          <ac:chgData name="Willen, Lasse" userId="fbee9a94-e28e-4864-8f37-85125bc374b4" providerId="ADAL" clId="{18204BCC-4C04-484F-A6BB-EDB3E1F86A45}" dt="2024-03-19T15:44:40.893" v="1780" actId="207"/>
          <ac:picMkLst>
            <pc:docMk/>
            <pc:sldMk cId="3234336945" sldId="257"/>
            <ac:picMk id="4" creationId="{9184C9F6-F691-F3AC-54FC-4EA1A3762C7F}"/>
          </ac:picMkLst>
        </pc:picChg>
        <pc:picChg chg="mod topLvl">
          <ac:chgData name="Willen, Lasse" userId="fbee9a94-e28e-4864-8f37-85125bc374b4" providerId="ADAL" clId="{18204BCC-4C04-484F-A6BB-EDB3E1F86A45}" dt="2024-03-19T15:51:27.929" v="1812" actId="207"/>
          <ac:picMkLst>
            <pc:docMk/>
            <pc:sldMk cId="3234336945" sldId="257"/>
            <ac:picMk id="5" creationId="{21E934EF-C01D-8F79-3A5D-DBCF4EFDC760}"/>
          </ac:picMkLst>
        </pc:picChg>
        <pc:picChg chg="mod topLvl">
          <ac:chgData name="Willen, Lasse" userId="fbee9a94-e28e-4864-8f37-85125bc374b4" providerId="ADAL" clId="{18204BCC-4C04-484F-A6BB-EDB3E1F86A45}" dt="2024-03-19T15:51:27.929" v="1812" actId="207"/>
          <ac:picMkLst>
            <pc:docMk/>
            <pc:sldMk cId="3234336945" sldId="257"/>
            <ac:picMk id="10" creationId="{D2603647-5E7A-FF93-BBA8-66CEFA09A026}"/>
          </ac:picMkLst>
        </pc:picChg>
        <pc:picChg chg="mod topLvl">
          <ac:chgData name="Willen, Lasse" userId="fbee9a94-e28e-4864-8f37-85125bc374b4" providerId="ADAL" clId="{18204BCC-4C04-484F-A6BB-EDB3E1F86A45}" dt="2024-03-19T15:51:27.929" v="1812" actId="207"/>
          <ac:picMkLst>
            <pc:docMk/>
            <pc:sldMk cId="3234336945" sldId="257"/>
            <ac:picMk id="12" creationId="{645326F3-1391-5EA3-5AD0-350852FB2677}"/>
          </ac:picMkLst>
        </pc:picChg>
        <pc:picChg chg="add mod">
          <ac:chgData name="Willen, Lasse" userId="fbee9a94-e28e-4864-8f37-85125bc374b4" providerId="ADAL" clId="{18204BCC-4C04-484F-A6BB-EDB3E1F86A45}" dt="2024-03-19T15:44:31.975" v="1778" actId="207"/>
          <ac:picMkLst>
            <pc:docMk/>
            <pc:sldMk cId="3234336945" sldId="257"/>
            <ac:picMk id="18" creationId="{2EBB2D69-5273-83E9-2AD1-F7D25EE52F65}"/>
          </ac:picMkLst>
        </pc:picChg>
        <pc:picChg chg="add mod">
          <ac:chgData name="Willen, Lasse" userId="fbee9a94-e28e-4864-8f37-85125bc374b4" providerId="ADAL" clId="{18204BCC-4C04-484F-A6BB-EDB3E1F86A45}" dt="2024-03-19T15:44:36.657" v="1779" actId="207"/>
          <ac:picMkLst>
            <pc:docMk/>
            <pc:sldMk cId="3234336945" sldId="257"/>
            <ac:picMk id="31" creationId="{CB9B0788-AD2E-DBCA-DFF2-750655FEBE47}"/>
          </ac:picMkLst>
        </pc:picChg>
        <pc:picChg chg="add del mod">
          <ac:chgData name="Willen, Lasse" userId="fbee9a94-e28e-4864-8f37-85125bc374b4" providerId="ADAL" clId="{18204BCC-4C04-484F-A6BB-EDB3E1F86A45}" dt="2024-03-19T15:26:08.863" v="920" actId="478"/>
          <ac:picMkLst>
            <pc:docMk/>
            <pc:sldMk cId="3234336945" sldId="257"/>
            <ac:picMk id="38" creationId="{EF7A9C8E-664E-7E3E-8471-A567B364A3B5}"/>
          </ac:picMkLst>
        </pc:picChg>
        <pc:picChg chg="add mod">
          <ac:chgData name="Willen, Lasse" userId="fbee9a94-e28e-4864-8f37-85125bc374b4" providerId="ADAL" clId="{18204BCC-4C04-484F-A6BB-EDB3E1F86A45}" dt="2024-03-19T15:24:50.524" v="919" actId="1076"/>
          <ac:picMkLst>
            <pc:docMk/>
            <pc:sldMk cId="3234336945" sldId="257"/>
            <ac:picMk id="39" creationId="{7ACCA48B-B068-76C9-7DCA-CA1F462DAC91}"/>
          </ac:picMkLst>
        </pc:picChg>
        <pc:picChg chg="add del mod">
          <ac:chgData name="Willen, Lasse" userId="fbee9a94-e28e-4864-8f37-85125bc374b4" providerId="ADAL" clId="{18204BCC-4C04-484F-A6BB-EDB3E1F86A45}" dt="2024-03-19T15:26:08.863" v="920" actId="478"/>
          <ac:picMkLst>
            <pc:docMk/>
            <pc:sldMk cId="3234336945" sldId="257"/>
            <ac:picMk id="40" creationId="{B99CA20D-DDDE-4B4C-78CC-DFD6170A6ADF}"/>
          </ac:picMkLst>
        </pc:picChg>
        <pc:picChg chg="mod topLvl">
          <ac:chgData name="Willen, Lasse" userId="fbee9a94-e28e-4864-8f37-85125bc374b4" providerId="ADAL" clId="{18204BCC-4C04-484F-A6BB-EDB3E1F86A45}" dt="2024-03-19T15:51:27.929" v="1812" actId="207"/>
          <ac:picMkLst>
            <pc:docMk/>
            <pc:sldMk cId="3234336945" sldId="257"/>
            <ac:picMk id="42" creationId="{DA693C98-B44C-4D77-985B-79CC1787DEAD}"/>
          </ac:picMkLst>
        </pc:picChg>
        <pc:picChg chg="add del mod">
          <ac:chgData name="Willen, Lasse" userId="fbee9a94-e28e-4864-8f37-85125bc374b4" providerId="ADAL" clId="{18204BCC-4C04-484F-A6BB-EDB3E1F86A45}" dt="2024-03-19T15:43:29.588" v="1773" actId="478"/>
          <ac:picMkLst>
            <pc:docMk/>
            <pc:sldMk cId="3234336945" sldId="257"/>
            <ac:picMk id="46" creationId="{EB544852-9C4F-0674-BA79-CF078850F450}"/>
          </ac:picMkLst>
        </pc:picChg>
        <pc:picChg chg="add del mod">
          <ac:chgData name="Willen, Lasse" userId="fbee9a94-e28e-4864-8f37-85125bc374b4" providerId="ADAL" clId="{18204BCC-4C04-484F-A6BB-EDB3E1F86A45}" dt="2024-03-19T15:42:54.577" v="1769" actId="478"/>
          <ac:picMkLst>
            <pc:docMk/>
            <pc:sldMk cId="3234336945" sldId="257"/>
            <ac:picMk id="51" creationId="{A9BC5837-78BC-8AC3-01BF-D536DA0E363B}"/>
          </ac:picMkLst>
        </pc:picChg>
        <pc:picChg chg="add del mod">
          <ac:chgData name="Willen, Lasse" userId="fbee9a94-e28e-4864-8f37-85125bc374b4" providerId="ADAL" clId="{18204BCC-4C04-484F-A6BB-EDB3E1F86A45}" dt="2024-03-19T15:41:33.352" v="1762" actId="478"/>
          <ac:picMkLst>
            <pc:docMk/>
            <pc:sldMk cId="3234336945" sldId="257"/>
            <ac:picMk id="55" creationId="{71ACB474-4562-AD32-5F53-F900D57BFBC3}"/>
          </ac:picMkLst>
        </pc:picChg>
        <pc:cxnChg chg="mod">
          <ac:chgData name="Willen, Lasse" userId="fbee9a94-e28e-4864-8f37-85125bc374b4" providerId="ADAL" clId="{18204BCC-4C04-484F-A6BB-EDB3E1F86A45}" dt="2024-03-19T16:03:23.582" v="2177" actId="1036"/>
          <ac:cxnSpMkLst>
            <pc:docMk/>
            <pc:sldMk cId="3234336945" sldId="257"/>
            <ac:cxnSpMk id="29" creationId="{7E3348B6-3913-BFEB-8123-496D42F5CE08}"/>
          </ac:cxnSpMkLst>
        </pc:cxnChg>
        <pc:cxnChg chg="add del mod">
          <ac:chgData name="Willen, Lasse" userId="fbee9a94-e28e-4864-8f37-85125bc374b4" providerId="ADAL" clId="{18204BCC-4C04-484F-A6BB-EDB3E1F86A45}" dt="2024-03-19T15:26:29.100" v="922" actId="478"/>
          <ac:cxnSpMkLst>
            <pc:docMk/>
            <pc:sldMk cId="3234336945" sldId="257"/>
            <ac:cxnSpMk id="37" creationId="{B6B16485-F904-7B6F-1BF4-9926FFAE7EA7}"/>
          </ac:cxnSpMkLst>
        </pc:cxnChg>
        <pc:cxnChg chg="add mod">
          <ac:chgData name="Willen, Lasse" userId="fbee9a94-e28e-4864-8f37-85125bc374b4" providerId="ADAL" clId="{18204BCC-4C04-484F-A6BB-EDB3E1F86A45}" dt="2024-03-19T15:26:31.856" v="925"/>
          <ac:cxnSpMkLst>
            <pc:docMk/>
            <pc:sldMk cId="3234336945" sldId="257"/>
            <ac:cxnSpMk id="43" creationId="{F402C0A1-BE6D-5022-8AEE-EFF69F12B5B6}"/>
          </ac:cxnSpMkLst>
        </pc:cxnChg>
      </pc:sldChg>
      <pc:sldChg chg="new del">
        <pc:chgData name="Willen, Lasse" userId="fbee9a94-e28e-4864-8f37-85125bc374b4" providerId="ADAL" clId="{18204BCC-4C04-484F-A6BB-EDB3E1F86A45}" dt="2024-03-19T14:49:40.889" v="121" actId="2696"/>
        <pc:sldMkLst>
          <pc:docMk/>
          <pc:sldMk cId="2575444018" sldId="258"/>
        </pc:sldMkLst>
      </pc:sldChg>
      <pc:sldChg chg="delSp modSp add del mod ord modShow">
        <pc:chgData name="Willen, Lasse" userId="fbee9a94-e28e-4864-8f37-85125bc374b4" providerId="ADAL" clId="{18204BCC-4C04-484F-A6BB-EDB3E1F86A45}" dt="2024-03-19T17:06:17.657" v="3047" actId="2696"/>
        <pc:sldMkLst>
          <pc:docMk/>
          <pc:sldMk cId="2792389448" sldId="258"/>
        </pc:sldMkLst>
        <pc:spChg chg="mod">
          <ac:chgData name="Willen, Lasse" userId="fbee9a94-e28e-4864-8f37-85125bc374b4" providerId="ADAL" clId="{18204BCC-4C04-484F-A6BB-EDB3E1F86A45}" dt="2024-03-19T15:12:32.985" v="727" actId="20577"/>
          <ac:spMkLst>
            <pc:docMk/>
            <pc:sldMk cId="2792389448" sldId="258"/>
            <ac:spMk id="8" creationId="{C086EEA7-B14E-C540-30CD-D037C0384104}"/>
          </ac:spMkLst>
        </pc:spChg>
        <pc:picChg chg="del">
          <ac:chgData name="Willen, Lasse" userId="fbee9a94-e28e-4864-8f37-85125bc374b4" providerId="ADAL" clId="{18204BCC-4C04-484F-A6BB-EDB3E1F86A45}" dt="2024-03-19T16:09:24.070" v="2188" actId="478"/>
          <ac:picMkLst>
            <pc:docMk/>
            <pc:sldMk cId="2792389448" sldId="258"/>
            <ac:picMk id="3" creationId="{5A0A69C1-1211-6B1B-499C-30814576CEA9}"/>
          </ac:picMkLst>
        </pc:picChg>
        <pc:picChg chg="del">
          <ac:chgData name="Willen, Lasse" userId="fbee9a94-e28e-4864-8f37-85125bc374b4" providerId="ADAL" clId="{18204BCC-4C04-484F-A6BB-EDB3E1F86A45}" dt="2024-03-19T16:09:24.070" v="2188" actId="478"/>
          <ac:picMkLst>
            <pc:docMk/>
            <pc:sldMk cId="2792389448" sldId="258"/>
            <ac:picMk id="12" creationId="{4E4E5917-1900-AD23-C8F0-8644B03B9981}"/>
          </ac:picMkLst>
        </pc:picChg>
        <pc:picChg chg="del">
          <ac:chgData name="Willen, Lasse" userId="fbee9a94-e28e-4864-8f37-85125bc374b4" providerId="ADAL" clId="{18204BCC-4C04-484F-A6BB-EDB3E1F86A45}" dt="2024-03-19T16:09:24.070" v="2188" actId="478"/>
          <ac:picMkLst>
            <pc:docMk/>
            <pc:sldMk cId="2792389448" sldId="258"/>
            <ac:picMk id="13" creationId="{104A8D14-B8A9-F583-2E4E-AC16F939D658}"/>
          </ac:picMkLst>
        </pc:picChg>
        <pc:picChg chg="del">
          <ac:chgData name="Willen, Lasse" userId="fbee9a94-e28e-4864-8f37-85125bc374b4" providerId="ADAL" clId="{18204BCC-4C04-484F-A6BB-EDB3E1F86A45}" dt="2024-03-19T16:09:27.588" v="2189" actId="478"/>
          <ac:picMkLst>
            <pc:docMk/>
            <pc:sldMk cId="2792389448" sldId="258"/>
            <ac:picMk id="15" creationId="{9460D8CB-CA92-3B36-A533-9F12D832B64F}"/>
          </ac:picMkLst>
        </pc:picChg>
      </pc:sldChg>
      <pc:sldChg chg="addSp delSp modSp add mod">
        <pc:chgData name="Willen, Lasse" userId="fbee9a94-e28e-4864-8f37-85125bc374b4" providerId="ADAL" clId="{18204BCC-4C04-484F-A6BB-EDB3E1F86A45}" dt="2024-03-19T16:05:00.224" v="2187" actId="20577"/>
        <pc:sldMkLst>
          <pc:docMk/>
          <pc:sldMk cId="1675125052" sldId="259"/>
        </pc:sldMkLst>
        <pc:spChg chg="add del mod">
          <ac:chgData name="Willen, Lasse" userId="fbee9a94-e28e-4864-8f37-85125bc374b4" providerId="ADAL" clId="{18204BCC-4C04-484F-A6BB-EDB3E1F86A45}" dt="2024-03-19T14:56:17.413" v="242" actId="478"/>
          <ac:spMkLst>
            <pc:docMk/>
            <pc:sldMk cId="1675125052" sldId="259"/>
            <ac:spMk id="3" creationId="{1D7AE09E-73D1-52CB-6B1D-435C36591D49}"/>
          </ac:spMkLst>
        </pc:spChg>
        <pc:spChg chg="add mod">
          <ac:chgData name="Willen, Lasse" userId="fbee9a94-e28e-4864-8f37-85125bc374b4" providerId="ADAL" clId="{18204BCC-4C04-484F-A6BB-EDB3E1F86A45}" dt="2024-03-19T16:05:00.224" v="2187" actId="20577"/>
          <ac:spMkLst>
            <pc:docMk/>
            <pc:sldMk cId="1675125052" sldId="259"/>
            <ac:spMk id="4" creationId="{8505BDA1-2F03-B759-E4AB-B1A231773C83}"/>
          </ac:spMkLst>
        </pc:spChg>
        <pc:spChg chg="mod">
          <ac:chgData name="Willen, Lasse" userId="fbee9a94-e28e-4864-8f37-85125bc374b4" providerId="ADAL" clId="{18204BCC-4C04-484F-A6BB-EDB3E1F86A45}" dt="2024-03-19T15:58:13.118" v="1870" actId="20577"/>
          <ac:spMkLst>
            <pc:docMk/>
            <pc:sldMk cId="1675125052" sldId="259"/>
            <ac:spMk id="7" creationId="{1374A8CC-6938-2639-86C0-8AC95B4FD82C}"/>
          </ac:spMkLst>
        </pc:spChg>
        <pc:spChg chg="mod">
          <ac:chgData name="Willen, Lasse" userId="fbee9a94-e28e-4864-8f37-85125bc374b4" providerId="ADAL" clId="{18204BCC-4C04-484F-A6BB-EDB3E1F86A45}" dt="2024-03-19T15:08:23.332" v="566" actId="20577"/>
          <ac:spMkLst>
            <pc:docMk/>
            <pc:sldMk cId="1675125052" sldId="259"/>
            <ac:spMk id="8" creationId="{C086EEA7-B14E-C540-30CD-D037C0384104}"/>
          </ac:spMkLst>
        </pc:spChg>
        <pc:spChg chg="del">
          <ac:chgData name="Willen, Lasse" userId="fbee9a94-e28e-4864-8f37-85125bc374b4" providerId="ADAL" clId="{18204BCC-4C04-484F-A6BB-EDB3E1F86A45}" dt="2024-03-19T14:55:24.404" v="236" actId="478"/>
          <ac:spMkLst>
            <pc:docMk/>
            <pc:sldMk cId="1675125052" sldId="259"/>
            <ac:spMk id="9" creationId="{5A502BDD-4FBE-346E-C26B-777B56071C97}"/>
          </ac:spMkLst>
        </pc:spChg>
        <pc:spChg chg="add mod">
          <ac:chgData name="Willen, Lasse" userId="fbee9a94-e28e-4864-8f37-85125bc374b4" providerId="ADAL" clId="{18204BCC-4C04-484F-A6BB-EDB3E1F86A45}" dt="2024-03-19T16:04:53.257" v="2186" actId="404"/>
          <ac:spMkLst>
            <pc:docMk/>
            <pc:sldMk cId="1675125052" sldId="259"/>
            <ac:spMk id="10" creationId="{20D72E68-B85C-4569-F248-6AEEF476F6BD}"/>
          </ac:spMkLst>
        </pc:spChg>
        <pc:spChg chg="add del mod">
          <ac:chgData name="Willen, Lasse" userId="fbee9a94-e28e-4864-8f37-85125bc374b4" providerId="ADAL" clId="{18204BCC-4C04-484F-A6BB-EDB3E1F86A45}" dt="2024-03-19T15:03:58.890" v="359" actId="1035"/>
          <ac:spMkLst>
            <pc:docMk/>
            <pc:sldMk cId="1675125052" sldId="259"/>
            <ac:spMk id="11" creationId="{890D100B-C8FD-38F5-D2CF-4DDC975FFA81}"/>
          </ac:spMkLst>
        </pc:spChg>
        <pc:picChg chg="add del mod">
          <ac:chgData name="Willen, Lasse" userId="fbee9a94-e28e-4864-8f37-85125bc374b4" providerId="ADAL" clId="{18204BCC-4C04-484F-A6BB-EDB3E1F86A45}" dt="2024-03-19T15:00:04.849" v="262" actId="21"/>
          <ac:picMkLst>
            <pc:docMk/>
            <pc:sldMk cId="1675125052" sldId="259"/>
            <ac:picMk id="2" creationId="{9942E79F-F27D-45BD-923C-A5A27502FD54}"/>
          </ac:picMkLst>
        </pc:picChg>
        <pc:picChg chg="add del mod">
          <ac:chgData name="Willen, Lasse" userId="fbee9a94-e28e-4864-8f37-85125bc374b4" providerId="ADAL" clId="{18204BCC-4C04-484F-A6BB-EDB3E1F86A45}" dt="2024-03-19T15:01:09.327" v="271" actId="478"/>
          <ac:picMkLst>
            <pc:docMk/>
            <pc:sldMk cId="1675125052" sldId="259"/>
            <ac:picMk id="12" creationId="{1F5DF605-9666-7F81-43C8-75355AAC8147}"/>
          </ac:picMkLst>
        </pc:picChg>
        <pc:picChg chg="add mod">
          <ac:chgData name="Willen, Lasse" userId="fbee9a94-e28e-4864-8f37-85125bc374b4" providerId="ADAL" clId="{18204BCC-4C04-484F-A6BB-EDB3E1F86A45}" dt="2024-03-19T15:03:58.890" v="359" actId="1035"/>
          <ac:picMkLst>
            <pc:docMk/>
            <pc:sldMk cId="1675125052" sldId="259"/>
            <ac:picMk id="14" creationId="{6838CAC6-E889-B196-5595-E0ED133E4CAC}"/>
          </ac:picMkLst>
        </pc:picChg>
        <pc:picChg chg="add mod">
          <ac:chgData name="Willen, Lasse" userId="fbee9a94-e28e-4864-8f37-85125bc374b4" providerId="ADAL" clId="{18204BCC-4C04-484F-A6BB-EDB3E1F86A45}" dt="2024-03-19T15:01:10.843" v="272"/>
          <ac:picMkLst>
            <pc:docMk/>
            <pc:sldMk cId="1675125052" sldId="259"/>
            <ac:picMk id="15" creationId="{9F01C074-7D4E-9064-63BF-BB07674097DC}"/>
          </ac:picMkLst>
        </pc:picChg>
        <pc:cxnChg chg="add">
          <ac:chgData name="Willen, Lasse" userId="fbee9a94-e28e-4864-8f37-85125bc374b4" providerId="ADAL" clId="{18204BCC-4C04-484F-A6BB-EDB3E1F86A45}" dt="2024-03-19T15:03:24.279" v="302" actId="11529"/>
          <ac:cxnSpMkLst>
            <pc:docMk/>
            <pc:sldMk cId="1675125052" sldId="259"/>
            <ac:cxnSpMk id="17" creationId="{7517446C-5030-BF59-734C-E3D9E11D46A7}"/>
          </ac:cxnSpMkLst>
        </pc:cxnChg>
        <pc:cxnChg chg="add mod">
          <ac:chgData name="Willen, Lasse" userId="fbee9a94-e28e-4864-8f37-85125bc374b4" providerId="ADAL" clId="{18204BCC-4C04-484F-A6BB-EDB3E1F86A45}" dt="2024-03-19T15:03:38.349" v="341" actId="1036"/>
          <ac:cxnSpMkLst>
            <pc:docMk/>
            <pc:sldMk cId="1675125052" sldId="259"/>
            <ac:cxnSpMk id="18" creationId="{B21246EB-DAFA-D099-FF1F-3A3ADB9C8503}"/>
          </ac:cxnSpMkLst>
        </pc:cxnChg>
        <pc:cxnChg chg="add mod">
          <ac:chgData name="Willen, Lasse" userId="fbee9a94-e28e-4864-8f37-85125bc374b4" providerId="ADAL" clId="{18204BCC-4C04-484F-A6BB-EDB3E1F86A45}" dt="2024-03-19T15:04:37.874" v="455" actId="1036"/>
          <ac:cxnSpMkLst>
            <pc:docMk/>
            <pc:sldMk cId="1675125052" sldId="259"/>
            <ac:cxnSpMk id="19" creationId="{1788B0C1-0B11-D13E-560E-F3B3BE96B4E3}"/>
          </ac:cxnSpMkLst>
        </pc:cxnChg>
      </pc:sldChg>
      <pc:sldChg chg="add del">
        <pc:chgData name="Willen, Lasse" userId="fbee9a94-e28e-4864-8f37-85125bc374b4" providerId="ADAL" clId="{18204BCC-4C04-484F-A6BB-EDB3E1F86A45}" dt="2024-03-19T14:51:44.117" v="183" actId="2696"/>
        <pc:sldMkLst>
          <pc:docMk/>
          <pc:sldMk cId="220194540" sldId="260"/>
        </pc:sldMkLst>
      </pc:sldChg>
      <pc:sldChg chg="new del">
        <pc:chgData name="Willen, Lasse" userId="fbee9a94-e28e-4864-8f37-85125bc374b4" providerId="ADAL" clId="{18204BCC-4C04-484F-A6BB-EDB3E1F86A45}" dt="2024-03-19T16:12:26.455" v="2192" actId="2696"/>
        <pc:sldMkLst>
          <pc:docMk/>
          <pc:sldMk cId="883147616" sldId="260"/>
        </pc:sldMkLst>
      </pc:sldChg>
      <pc:sldChg chg="add del">
        <pc:chgData name="Willen, Lasse" userId="fbee9a94-e28e-4864-8f37-85125bc374b4" providerId="ADAL" clId="{18204BCC-4C04-484F-A6BB-EDB3E1F86A45}" dt="2024-03-19T14:52:02.557" v="185" actId="2696"/>
        <pc:sldMkLst>
          <pc:docMk/>
          <pc:sldMk cId="3407186921" sldId="260"/>
        </pc:sldMkLst>
      </pc:sldChg>
      <pc:sldChg chg="addSp delSp modSp add mod">
        <pc:chgData name="Willen, Lasse" userId="fbee9a94-e28e-4864-8f37-85125bc374b4" providerId="ADAL" clId="{18204BCC-4C04-484F-A6BB-EDB3E1F86A45}" dt="2024-03-20T14:28:08.284" v="3049" actId="20577"/>
        <pc:sldMkLst>
          <pc:docMk/>
          <pc:sldMk cId="2342603799" sldId="261"/>
        </pc:sldMkLst>
        <pc:spChg chg="del">
          <ac:chgData name="Willen, Lasse" userId="fbee9a94-e28e-4864-8f37-85125bc374b4" providerId="ADAL" clId="{18204BCC-4C04-484F-A6BB-EDB3E1F86A45}" dt="2024-03-19T16:12:30.531" v="2193" actId="478"/>
          <ac:spMkLst>
            <pc:docMk/>
            <pc:sldMk cId="2342603799" sldId="261"/>
            <ac:spMk id="2" creationId="{32B25CD3-AAF5-3BD7-5333-772FB1FB7E3C}"/>
          </ac:spMkLst>
        </pc:spChg>
        <pc:spChg chg="add mod">
          <ac:chgData name="Willen, Lasse" userId="fbee9a94-e28e-4864-8f37-85125bc374b4" providerId="ADAL" clId="{18204BCC-4C04-484F-A6BB-EDB3E1F86A45}" dt="2024-03-19T16:12:33.362" v="2195"/>
          <ac:spMkLst>
            <pc:docMk/>
            <pc:sldMk cId="2342603799" sldId="261"/>
            <ac:spMk id="4" creationId="{A8AEB4E8-E89B-49EE-480A-7AD7DF6A551A}"/>
          </ac:spMkLst>
        </pc:spChg>
        <pc:spChg chg="add mod">
          <ac:chgData name="Willen, Lasse" userId="fbee9a94-e28e-4864-8f37-85125bc374b4" providerId="ADAL" clId="{18204BCC-4C04-484F-A6BB-EDB3E1F86A45}" dt="2024-03-19T16:12:33.362" v="2195"/>
          <ac:spMkLst>
            <pc:docMk/>
            <pc:sldMk cId="2342603799" sldId="261"/>
            <ac:spMk id="9" creationId="{14B91148-E244-0182-BCDA-849D75141EA4}"/>
          </ac:spMkLst>
        </pc:spChg>
        <pc:spChg chg="del">
          <ac:chgData name="Willen, Lasse" userId="fbee9a94-e28e-4864-8f37-85125bc374b4" providerId="ADAL" clId="{18204BCC-4C04-484F-A6BB-EDB3E1F86A45}" dt="2024-03-19T16:12:32.623" v="2194" actId="478"/>
          <ac:spMkLst>
            <pc:docMk/>
            <pc:sldMk cId="2342603799" sldId="261"/>
            <ac:spMk id="10" creationId="{3F5EB40A-FC3D-F327-42F2-64DF73C6BCA2}"/>
          </ac:spMkLst>
        </pc:spChg>
        <pc:spChg chg="del">
          <ac:chgData name="Willen, Lasse" userId="fbee9a94-e28e-4864-8f37-85125bc374b4" providerId="ADAL" clId="{18204BCC-4C04-484F-A6BB-EDB3E1F86A45}" dt="2024-03-19T16:12:30.531" v="2193" actId="478"/>
          <ac:spMkLst>
            <pc:docMk/>
            <pc:sldMk cId="2342603799" sldId="261"/>
            <ac:spMk id="11" creationId="{56C26B3E-6033-2BC0-6E27-4188F5DB2D7F}"/>
          </ac:spMkLst>
        </pc:spChg>
        <pc:spChg chg="add mod">
          <ac:chgData name="Willen, Lasse" userId="fbee9a94-e28e-4864-8f37-85125bc374b4" providerId="ADAL" clId="{18204BCC-4C04-484F-A6BB-EDB3E1F86A45}" dt="2024-03-19T16:12:33.362" v="2195"/>
          <ac:spMkLst>
            <pc:docMk/>
            <pc:sldMk cId="2342603799" sldId="261"/>
            <ac:spMk id="12" creationId="{18D36DC7-6E6E-69EF-7F93-FAD2C27FF435}"/>
          </ac:spMkLst>
        </pc:spChg>
        <pc:spChg chg="add mod">
          <ac:chgData name="Willen, Lasse" userId="fbee9a94-e28e-4864-8f37-85125bc374b4" providerId="ADAL" clId="{18204BCC-4C04-484F-A6BB-EDB3E1F86A45}" dt="2024-03-19T16:12:33.362" v="2195"/>
          <ac:spMkLst>
            <pc:docMk/>
            <pc:sldMk cId="2342603799" sldId="261"/>
            <ac:spMk id="13" creationId="{CCF3A05B-16B7-191C-5A68-AA06C3344142}"/>
          </ac:spMkLst>
        </pc:spChg>
        <pc:spChg chg="add mod">
          <ac:chgData name="Willen, Lasse" userId="fbee9a94-e28e-4864-8f37-85125bc374b4" providerId="ADAL" clId="{18204BCC-4C04-484F-A6BB-EDB3E1F86A45}" dt="2024-03-19T16:12:33.362" v="2195"/>
          <ac:spMkLst>
            <pc:docMk/>
            <pc:sldMk cId="2342603799" sldId="261"/>
            <ac:spMk id="14" creationId="{129AF35A-FF0D-E267-8FD5-3FEDAAA886CB}"/>
          </ac:spMkLst>
        </pc:spChg>
        <pc:spChg chg="add mod">
          <ac:chgData name="Willen, Lasse" userId="fbee9a94-e28e-4864-8f37-85125bc374b4" providerId="ADAL" clId="{18204BCC-4C04-484F-A6BB-EDB3E1F86A45}" dt="2024-03-20T14:28:08.284" v="3049" actId="20577"/>
          <ac:spMkLst>
            <pc:docMk/>
            <pc:sldMk cId="2342603799" sldId="261"/>
            <ac:spMk id="17" creationId="{C2C15FD6-AA4B-453D-B8AD-AFF48641C474}"/>
          </ac:spMkLst>
        </pc:spChg>
        <pc:spChg chg="add mod">
          <ac:chgData name="Willen, Lasse" userId="fbee9a94-e28e-4864-8f37-85125bc374b4" providerId="ADAL" clId="{18204BCC-4C04-484F-A6BB-EDB3E1F86A45}" dt="2024-03-19T17:04:31.053" v="2980" actId="554"/>
          <ac:spMkLst>
            <pc:docMk/>
            <pc:sldMk cId="2342603799" sldId="261"/>
            <ac:spMk id="18" creationId="{C2C6FC7F-AAA1-BF7C-1310-6698FD3BAB02}"/>
          </ac:spMkLst>
        </pc:spChg>
        <pc:spChg chg="add mod">
          <ac:chgData name="Willen, Lasse" userId="fbee9a94-e28e-4864-8f37-85125bc374b4" providerId="ADAL" clId="{18204BCC-4C04-484F-A6BB-EDB3E1F86A45}" dt="2024-03-19T17:04:42.823" v="3001" actId="20577"/>
          <ac:spMkLst>
            <pc:docMk/>
            <pc:sldMk cId="2342603799" sldId="261"/>
            <ac:spMk id="19" creationId="{AE48AD2E-3827-98FF-ABF8-5FF62608A5C7}"/>
          </ac:spMkLst>
        </pc:spChg>
        <pc:spChg chg="add mod">
          <ac:chgData name="Willen, Lasse" userId="fbee9a94-e28e-4864-8f37-85125bc374b4" providerId="ADAL" clId="{18204BCC-4C04-484F-A6BB-EDB3E1F86A45}" dt="2024-03-19T17:04:50.540" v="3002"/>
          <ac:spMkLst>
            <pc:docMk/>
            <pc:sldMk cId="2342603799" sldId="261"/>
            <ac:spMk id="20" creationId="{6E5E759F-9A0C-DBD7-49D6-B97506CA7C6D}"/>
          </ac:spMkLst>
        </pc:spChg>
        <pc:graphicFrameChg chg="add mod modGraphic">
          <ac:chgData name="Willen, Lasse" userId="fbee9a94-e28e-4864-8f37-85125bc374b4" providerId="ADAL" clId="{18204BCC-4C04-484F-A6BB-EDB3E1F86A45}" dt="2024-03-19T16:18:49.713" v="2438" actId="404"/>
          <ac:graphicFrameMkLst>
            <pc:docMk/>
            <pc:sldMk cId="2342603799" sldId="261"/>
            <ac:graphicFrameMk id="15" creationId="{424CAF1F-C200-8662-A901-03C95CF4F980}"/>
          </ac:graphicFrameMkLst>
        </pc:graphicFrameChg>
        <pc:cxnChg chg="del">
          <ac:chgData name="Willen, Lasse" userId="fbee9a94-e28e-4864-8f37-85125bc374b4" providerId="ADAL" clId="{18204BCC-4C04-484F-A6BB-EDB3E1F86A45}" dt="2024-03-19T16:12:30.531" v="2193" actId="478"/>
          <ac:cxnSpMkLst>
            <pc:docMk/>
            <pc:sldMk cId="2342603799" sldId="261"/>
            <ac:cxnSpMk id="3" creationId="{DB023085-8BD1-236C-20FC-CD6934E25A30}"/>
          </ac:cxnSpMkLst>
        </pc:cxnChg>
        <pc:cxnChg chg="add mod">
          <ac:chgData name="Willen, Lasse" userId="fbee9a94-e28e-4864-8f37-85125bc374b4" providerId="ADAL" clId="{18204BCC-4C04-484F-A6BB-EDB3E1F86A45}" dt="2024-03-19T16:12:33.362" v="2195"/>
          <ac:cxnSpMkLst>
            <pc:docMk/>
            <pc:sldMk cId="2342603799" sldId="261"/>
            <ac:cxnSpMk id="16" creationId="{4FD5382E-52CE-017D-DE4F-55DCDA26875C}"/>
          </ac:cxnSpMkLst>
        </pc:cxnChg>
        <pc:cxnChg chg="add mod">
          <ac:chgData name="Willen, Lasse" userId="fbee9a94-e28e-4864-8f37-85125bc374b4" providerId="ADAL" clId="{18204BCC-4C04-484F-A6BB-EDB3E1F86A45}" dt="2024-03-19T16:12:33.362" v="2195"/>
          <ac:cxnSpMkLst>
            <pc:docMk/>
            <pc:sldMk cId="2342603799" sldId="261"/>
            <ac:cxnSpMk id="21" creationId="{933599E7-B940-DAC6-E15E-573B1313C0BF}"/>
          </ac:cxnSpMkLst>
        </pc:cxnChg>
      </pc:sldChg>
    </pc:docChg>
  </pc:docChgLst>
  <pc:docChgLst>
    <pc:chgData name="Stammen, Anika" userId="S::anika.stammen@student.reutlingen-university.de::dd30fd6b-d687-4c57-940e-602c84cbcae8" providerId="AD" clId="Web-{988FD7D4-B4D4-4EA6-8565-E9C606FF4196}"/>
    <pc:docChg chg="modSld">
      <pc:chgData name="Stammen, Anika" userId="S::anika.stammen@student.reutlingen-university.de::dd30fd6b-d687-4c57-940e-602c84cbcae8" providerId="AD" clId="Web-{988FD7D4-B4D4-4EA6-8565-E9C606FF4196}" dt="2024-03-19T21:42:58.670" v="3" actId="20577"/>
      <pc:docMkLst>
        <pc:docMk/>
      </pc:docMkLst>
      <pc:sldChg chg="modSp">
        <pc:chgData name="Stammen, Anika" userId="S::anika.stammen@student.reutlingen-university.de::dd30fd6b-d687-4c57-940e-602c84cbcae8" providerId="AD" clId="Web-{988FD7D4-B4D4-4EA6-8565-E9C606FF4196}" dt="2024-03-19T21:42:58.670" v="3" actId="20577"/>
        <pc:sldMkLst>
          <pc:docMk/>
          <pc:sldMk cId="3252490408" sldId="256"/>
        </pc:sldMkLst>
        <pc:spChg chg="mod">
          <ac:chgData name="Stammen, Anika" userId="S::anika.stammen@student.reutlingen-university.de::dd30fd6b-d687-4c57-940e-602c84cbcae8" providerId="AD" clId="Web-{988FD7D4-B4D4-4EA6-8565-E9C606FF4196}" dt="2024-03-19T21:42:58.670" v="3" actId="20577"/>
          <ac:spMkLst>
            <pc:docMk/>
            <pc:sldMk cId="3252490408" sldId="256"/>
            <ac:spMk id="4" creationId="{45B23A0F-49F9-BC5E-6884-AC9FA9C9DE87}"/>
          </ac:spMkLst>
        </pc:spChg>
      </pc:sldChg>
    </pc:docChg>
  </pc:docChgLst>
  <pc:docChgLst>
    <pc:chgData name="Stammen, Anika" userId="S::anika.stammen@student.reutlingen-university.de::dd30fd6b-d687-4c57-940e-602c84cbcae8" providerId="AD" clId="Web-{112C5941-31AF-467C-83EC-A20447065B1F}"/>
    <pc:docChg chg="modSld">
      <pc:chgData name="Stammen, Anika" userId="S::anika.stammen@student.reutlingen-university.de::dd30fd6b-d687-4c57-940e-602c84cbcae8" providerId="AD" clId="Web-{112C5941-31AF-467C-83EC-A20447065B1F}" dt="2024-03-20T23:40:09.073" v="255" actId="20577"/>
      <pc:docMkLst>
        <pc:docMk/>
      </pc:docMkLst>
      <pc:sldChg chg="modSp">
        <pc:chgData name="Stammen, Anika" userId="S::anika.stammen@student.reutlingen-university.de::dd30fd6b-d687-4c57-940e-602c84cbcae8" providerId="AD" clId="Web-{112C5941-31AF-467C-83EC-A20447065B1F}" dt="2024-03-20T23:40:09.073" v="255" actId="20577"/>
        <pc:sldMkLst>
          <pc:docMk/>
          <pc:sldMk cId="2342603799" sldId="261"/>
        </pc:sldMkLst>
        <pc:spChg chg="mod">
          <ac:chgData name="Stammen, Anika" userId="S::anika.stammen@student.reutlingen-university.de::dd30fd6b-d687-4c57-940e-602c84cbcae8" providerId="AD" clId="Web-{112C5941-31AF-467C-83EC-A20447065B1F}" dt="2024-03-20T23:38:56.086" v="211" actId="1076"/>
          <ac:spMkLst>
            <pc:docMk/>
            <pc:sldMk cId="2342603799" sldId="261"/>
            <ac:spMk id="2" creationId="{C3C5963B-A718-D759-D988-4C1FB956489D}"/>
          </ac:spMkLst>
        </pc:spChg>
        <pc:spChg chg="mod">
          <ac:chgData name="Stammen, Anika" userId="S::anika.stammen@student.reutlingen-university.de::dd30fd6b-d687-4c57-940e-602c84cbcae8" providerId="AD" clId="Web-{112C5941-31AF-467C-83EC-A20447065B1F}" dt="2024-03-20T23:38:14.242" v="160" actId="20577"/>
          <ac:spMkLst>
            <pc:docMk/>
            <pc:sldMk cId="2342603799" sldId="261"/>
            <ac:spMk id="17" creationId="{C2C15FD6-AA4B-453D-B8AD-AFF48641C474}"/>
          </ac:spMkLst>
        </pc:spChg>
        <pc:spChg chg="mod">
          <ac:chgData name="Stammen, Anika" userId="S::anika.stammen@student.reutlingen-university.de::dd30fd6b-d687-4c57-940e-602c84cbcae8" providerId="AD" clId="Web-{112C5941-31AF-467C-83EC-A20447065B1F}" dt="2024-03-20T23:34:49.142" v="3"/>
          <ac:spMkLst>
            <pc:docMk/>
            <pc:sldMk cId="2342603799" sldId="261"/>
            <ac:spMk id="18" creationId="{C2C6FC7F-AAA1-BF7C-1310-6698FD3BAB02}"/>
          </ac:spMkLst>
        </pc:spChg>
        <pc:spChg chg="mod">
          <ac:chgData name="Stammen, Anika" userId="S::anika.stammen@student.reutlingen-university.de::dd30fd6b-d687-4c57-940e-602c84cbcae8" providerId="AD" clId="Web-{112C5941-31AF-467C-83EC-A20447065B1F}" dt="2024-03-20T23:40:09.073" v="255" actId="20577"/>
          <ac:spMkLst>
            <pc:docMk/>
            <pc:sldMk cId="2342603799" sldId="261"/>
            <ac:spMk id="19" creationId="{AE48AD2E-3827-98FF-ABF8-5FF62608A5C7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A23FD3C-2E6C-E242-9698-89C6B0563F87}" type="doc">
      <dgm:prSet loTypeId="urn:microsoft.com/office/officeart/2005/8/layout/cycle4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9B173D66-D1E0-114C-9E61-C4AB7F51B022}">
      <dgm:prSet phldrT="[Text]" custT="1"/>
      <dgm:spPr>
        <a:solidFill>
          <a:schemeClr val="accent6">
            <a:lumMod val="50000"/>
          </a:schemeClr>
        </a:solidFill>
      </dgm:spPr>
      <dgm:t>
        <a:bodyPr/>
        <a:lstStyle/>
        <a:p>
          <a:r>
            <a:rPr lang="en-GB" sz="1100" b="0">
              <a:solidFill>
                <a:schemeClr val="bg1"/>
              </a:solidFill>
            </a:rPr>
            <a:t>Renewable Energy</a:t>
          </a:r>
        </a:p>
      </dgm:t>
    </dgm:pt>
    <dgm:pt modelId="{6261D293-4463-0F4C-800C-83408D7A0B88}" type="parTrans" cxnId="{9824FFCA-20F1-6E4B-A39C-F4972F66780E}">
      <dgm:prSet/>
      <dgm:spPr/>
      <dgm:t>
        <a:bodyPr/>
        <a:lstStyle/>
        <a:p>
          <a:endParaRPr lang="en-GB" sz="1100">
            <a:solidFill>
              <a:schemeClr val="bg1"/>
            </a:solidFill>
          </a:endParaRPr>
        </a:p>
      </dgm:t>
    </dgm:pt>
    <dgm:pt modelId="{FD92975B-08C5-E94F-9C22-94895168F000}" type="sibTrans" cxnId="{9824FFCA-20F1-6E4B-A39C-F4972F66780E}">
      <dgm:prSet/>
      <dgm:spPr/>
      <dgm:t>
        <a:bodyPr/>
        <a:lstStyle/>
        <a:p>
          <a:endParaRPr lang="en-GB" sz="1100">
            <a:solidFill>
              <a:schemeClr val="bg1"/>
            </a:solidFill>
          </a:endParaRPr>
        </a:p>
      </dgm:t>
    </dgm:pt>
    <dgm:pt modelId="{18E05379-7DB3-3147-99E7-6C02023D9C3B}">
      <dgm:prSet phldrT="[Text]" custT="1"/>
      <dgm:spPr>
        <a:solidFill>
          <a:schemeClr val="accent6">
            <a:lumMod val="75000"/>
          </a:schemeClr>
        </a:solidFill>
      </dgm:spPr>
      <dgm:t>
        <a:bodyPr/>
        <a:lstStyle/>
        <a:p>
          <a:pPr algn="ctr"/>
          <a:r>
            <a:rPr lang="en-GB" sz="1100" b="0">
              <a:solidFill>
                <a:schemeClr val="bg1"/>
              </a:solidFill>
            </a:rPr>
            <a:t>Individual Circumstance</a:t>
          </a:r>
        </a:p>
      </dgm:t>
    </dgm:pt>
    <dgm:pt modelId="{1E1CF2EE-0C2F-0C40-B2C6-E6A9744A2EA1}" type="parTrans" cxnId="{9C0D0C82-0CFA-874C-9849-BDF0E23AFA7A}">
      <dgm:prSet/>
      <dgm:spPr/>
      <dgm:t>
        <a:bodyPr/>
        <a:lstStyle/>
        <a:p>
          <a:endParaRPr lang="en-GB" sz="1100">
            <a:solidFill>
              <a:schemeClr val="bg1"/>
            </a:solidFill>
          </a:endParaRPr>
        </a:p>
      </dgm:t>
    </dgm:pt>
    <dgm:pt modelId="{5F4384A0-10E4-DE45-B44D-51A979B679B5}" type="sibTrans" cxnId="{9C0D0C82-0CFA-874C-9849-BDF0E23AFA7A}">
      <dgm:prSet/>
      <dgm:spPr/>
      <dgm:t>
        <a:bodyPr/>
        <a:lstStyle/>
        <a:p>
          <a:endParaRPr lang="en-GB" sz="1100">
            <a:solidFill>
              <a:schemeClr val="bg1"/>
            </a:solidFill>
          </a:endParaRPr>
        </a:p>
      </dgm:t>
    </dgm:pt>
    <dgm:pt modelId="{8C1A98F1-D699-6548-92EF-32870282769B}">
      <dgm:prSet phldrT="[Text]" custT="1"/>
      <dgm:spPr>
        <a:solidFill>
          <a:schemeClr val="accent6">
            <a:lumMod val="50000"/>
          </a:schemeClr>
        </a:solidFill>
      </dgm:spPr>
      <dgm:t>
        <a:bodyPr/>
        <a:lstStyle/>
        <a:p>
          <a:r>
            <a:rPr lang="en-GB" sz="1100" b="0">
              <a:solidFill>
                <a:schemeClr val="bg1"/>
              </a:solidFill>
            </a:rPr>
            <a:t>Pollution and Emissions</a:t>
          </a:r>
        </a:p>
      </dgm:t>
    </dgm:pt>
    <dgm:pt modelId="{525B81E5-E05B-744F-80CF-54280A081087}" type="parTrans" cxnId="{945F184C-8D15-164E-AAB6-79A1C4FD5338}">
      <dgm:prSet/>
      <dgm:spPr/>
      <dgm:t>
        <a:bodyPr/>
        <a:lstStyle/>
        <a:p>
          <a:endParaRPr lang="en-GB" sz="1100">
            <a:solidFill>
              <a:schemeClr val="bg1"/>
            </a:solidFill>
          </a:endParaRPr>
        </a:p>
      </dgm:t>
    </dgm:pt>
    <dgm:pt modelId="{56A3470E-A8C9-3F4A-AE2B-31EB6952C458}" type="sibTrans" cxnId="{945F184C-8D15-164E-AAB6-79A1C4FD5338}">
      <dgm:prSet/>
      <dgm:spPr/>
      <dgm:t>
        <a:bodyPr/>
        <a:lstStyle/>
        <a:p>
          <a:endParaRPr lang="en-GB" sz="1100">
            <a:solidFill>
              <a:schemeClr val="bg1"/>
            </a:solidFill>
          </a:endParaRPr>
        </a:p>
      </dgm:t>
    </dgm:pt>
    <dgm:pt modelId="{95792014-A6FE-DB45-9282-BFAD4E086F02}">
      <dgm:prSet phldrT="[Text]" custT="1"/>
      <dgm:spPr>
        <a:solidFill>
          <a:schemeClr val="accent6">
            <a:lumMod val="75000"/>
          </a:schemeClr>
        </a:solidFill>
      </dgm:spPr>
      <dgm:t>
        <a:bodyPr/>
        <a:lstStyle/>
        <a:p>
          <a:pPr rtl="0"/>
          <a:r>
            <a:rPr lang="en-GB" sz="1100" b="0" err="1">
              <a:solidFill>
                <a:schemeClr val="bg1"/>
              </a:solidFill>
            </a:rPr>
            <a:t>Sustainablity</a:t>
          </a:r>
          <a:r>
            <a:rPr lang="en-GB" sz="1100" b="0">
              <a:solidFill>
                <a:schemeClr val="bg1"/>
              </a:solidFill>
            </a:rPr>
            <a:t>  Development</a:t>
          </a:r>
        </a:p>
      </dgm:t>
    </dgm:pt>
    <dgm:pt modelId="{7D4EE5FE-FB64-4D45-BF47-A8A7BD8D6608}" type="sibTrans" cxnId="{47C2B284-9351-864E-A1C0-6A3CAD1C6502}">
      <dgm:prSet/>
      <dgm:spPr/>
      <dgm:t>
        <a:bodyPr/>
        <a:lstStyle/>
        <a:p>
          <a:endParaRPr lang="en-GB" sz="1100">
            <a:solidFill>
              <a:schemeClr val="bg1"/>
            </a:solidFill>
          </a:endParaRPr>
        </a:p>
      </dgm:t>
    </dgm:pt>
    <dgm:pt modelId="{5B50C647-0BAD-ED45-9818-7EE39FAE8E8E}" type="parTrans" cxnId="{47C2B284-9351-864E-A1C0-6A3CAD1C6502}">
      <dgm:prSet/>
      <dgm:spPr/>
      <dgm:t>
        <a:bodyPr/>
        <a:lstStyle/>
        <a:p>
          <a:endParaRPr lang="en-GB" sz="1100">
            <a:solidFill>
              <a:schemeClr val="bg1"/>
            </a:solidFill>
          </a:endParaRPr>
        </a:p>
      </dgm:t>
    </dgm:pt>
    <dgm:pt modelId="{CBC5E270-7732-7844-97B8-8663B8A00252}" type="pres">
      <dgm:prSet presAssocID="{4A23FD3C-2E6C-E242-9698-89C6B0563F87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</dgm:pt>
    <dgm:pt modelId="{73B0EF72-3DC1-2D4F-9C7E-9878C56A82AB}" type="pres">
      <dgm:prSet presAssocID="{4A23FD3C-2E6C-E242-9698-89C6B0563F87}" presName="children" presStyleCnt="0"/>
      <dgm:spPr/>
    </dgm:pt>
    <dgm:pt modelId="{3FFDFE17-CE8F-AB45-859C-90068D098F03}" type="pres">
      <dgm:prSet presAssocID="{4A23FD3C-2E6C-E242-9698-89C6B0563F87}" presName="childPlaceholder" presStyleCnt="0"/>
      <dgm:spPr/>
    </dgm:pt>
    <dgm:pt modelId="{E3D92C34-3C2C-9F43-9AF9-C19CED47E0D4}" type="pres">
      <dgm:prSet presAssocID="{4A23FD3C-2E6C-E242-9698-89C6B0563F87}" presName="circle" presStyleCnt="0"/>
      <dgm:spPr/>
    </dgm:pt>
    <dgm:pt modelId="{9F0E2AE3-7514-3547-ACD0-E5DDFC944F9D}" type="pres">
      <dgm:prSet presAssocID="{4A23FD3C-2E6C-E242-9698-89C6B0563F87}" presName="quadrant1" presStyleLbl="node1" presStyleIdx="0" presStyleCnt="4">
        <dgm:presLayoutVars>
          <dgm:chMax val="1"/>
          <dgm:bulletEnabled val="1"/>
        </dgm:presLayoutVars>
      </dgm:prSet>
      <dgm:spPr/>
    </dgm:pt>
    <dgm:pt modelId="{17265169-02D2-974F-937D-01F28C37A804}" type="pres">
      <dgm:prSet presAssocID="{4A23FD3C-2E6C-E242-9698-89C6B0563F87}" presName="quadrant2" presStyleLbl="node1" presStyleIdx="1" presStyleCnt="4">
        <dgm:presLayoutVars>
          <dgm:chMax val="1"/>
          <dgm:bulletEnabled val="1"/>
        </dgm:presLayoutVars>
      </dgm:prSet>
      <dgm:spPr/>
    </dgm:pt>
    <dgm:pt modelId="{F5CBE501-B926-1F40-90D3-405FEBA87DB9}" type="pres">
      <dgm:prSet presAssocID="{4A23FD3C-2E6C-E242-9698-89C6B0563F87}" presName="quadrant3" presStyleLbl="node1" presStyleIdx="2" presStyleCnt="4">
        <dgm:presLayoutVars>
          <dgm:chMax val="1"/>
          <dgm:bulletEnabled val="1"/>
        </dgm:presLayoutVars>
      </dgm:prSet>
      <dgm:spPr/>
    </dgm:pt>
    <dgm:pt modelId="{7B3268EF-5524-3F44-B93C-2751F90A900A}" type="pres">
      <dgm:prSet presAssocID="{4A23FD3C-2E6C-E242-9698-89C6B0563F87}" presName="quadrant4" presStyleLbl="node1" presStyleIdx="3" presStyleCnt="4">
        <dgm:presLayoutVars>
          <dgm:chMax val="1"/>
          <dgm:bulletEnabled val="1"/>
        </dgm:presLayoutVars>
      </dgm:prSet>
      <dgm:spPr/>
    </dgm:pt>
    <dgm:pt modelId="{9C2BB44C-0C26-D942-9332-2177A9631E63}" type="pres">
      <dgm:prSet presAssocID="{4A23FD3C-2E6C-E242-9698-89C6B0563F87}" presName="quadrantPlaceholder" presStyleCnt="0"/>
      <dgm:spPr/>
    </dgm:pt>
    <dgm:pt modelId="{D369DFF5-5919-794D-B3D3-2755E7719F18}" type="pres">
      <dgm:prSet presAssocID="{4A23FD3C-2E6C-E242-9698-89C6B0563F87}" presName="center1" presStyleLbl="fgShp" presStyleIdx="0" presStyleCnt="2"/>
      <dgm:spPr>
        <a:noFill/>
        <a:ln>
          <a:noFill/>
        </a:ln>
      </dgm:spPr>
    </dgm:pt>
    <dgm:pt modelId="{1CFE9F4C-8717-FD47-A4D6-A67186BF7470}" type="pres">
      <dgm:prSet presAssocID="{4A23FD3C-2E6C-E242-9698-89C6B0563F87}" presName="center2" presStyleLbl="fgShp" presStyleIdx="1" presStyleCnt="2" custLinFactX="118248" custLinFactY="34053" custLinFactNeighborX="200000" custLinFactNeighborY="100000"/>
      <dgm:spPr>
        <a:solidFill>
          <a:srgbClr val="AAACB1">
            <a:alpha val="0"/>
          </a:srgbClr>
        </a:solidFill>
      </dgm:spPr>
    </dgm:pt>
  </dgm:ptLst>
  <dgm:cxnLst>
    <dgm:cxn modelId="{00890618-D614-354A-A3EF-0F776BE96FC5}" type="presOf" srcId="{8C1A98F1-D699-6548-92EF-32870282769B}" destId="{7B3268EF-5524-3F44-B93C-2751F90A900A}" srcOrd="0" destOrd="0" presId="urn:microsoft.com/office/officeart/2005/8/layout/cycle4"/>
    <dgm:cxn modelId="{36F1D629-B7CF-E548-A0CF-C7F53046C824}" type="presOf" srcId="{95792014-A6FE-DB45-9282-BFAD4E086F02}" destId="{9F0E2AE3-7514-3547-ACD0-E5DDFC944F9D}" srcOrd="0" destOrd="0" presId="urn:microsoft.com/office/officeart/2005/8/layout/cycle4"/>
    <dgm:cxn modelId="{777B913B-C46E-7746-BAD3-5A13CED7345F}" type="presOf" srcId="{9B173D66-D1E0-114C-9E61-C4AB7F51B022}" destId="{17265169-02D2-974F-937D-01F28C37A804}" srcOrd="0" destOrd="0" presId="urn:microsoft.com/office/officeart/2005/8/layout/cycle4"/>
    <dgm:cxn modelId="{945F184C-8D15-164E-AAB6-79A1C4FD5338}" srcId="{4A23FD3C-2E6C-E242-9698-89C6B0563F87}" destId="{8C1A98F1-D699-6548-92EF-32870282769B}" srcOrd="3" destOrd="0" parTransId="{525B81E5-E05B-744F-80CF-54280A081087}" sibTransId="{56A3470E-A8C9-3F4A-AE2B-31EB6952C458}"/>
    <dgm:cxn modelId="{9C0D0C82-0CFA-874C-9849-BDF0E23AFA7A}" srcId="{4A23FD3C-2E6C-E242-9698-89C6B0563F87}" destId="{18E05379-7DB3-3147-99E7-6C02023D9C3B}" srcOrd="2" destOrd="0" parTransId="{1E1CF2EE-0C2F-0C40-B2C6-E6A9744A2EA1}" sibTransId="{5F4384A0-10E4-DE45-B44D-51A979B679B5}"/>
    <dgm:cxn modelId="{47C2B284-9351-864E-A1C0-6A3CAD1C6502}" srcId="{4A23FD3C-2E6C-E242-9698-89C6B0563F87}" destId="{95792014-A6FE-DB45-9282-BFAD4E086F02}" srcOrd="0" destOrd="0" parTransId="{5B50C647-0BAD-ED45-9818-7EE39FAE8E8E}" sibTransId="{7D4EE5FE-FB64-4D45-BF47-A8A7BD8D6608}"/>
    <dgm:cxn modelId="{6D3AFF85-5F7D-DE4C-BA9A-3552FEF62D7D}" type="presOf" srcId="{18E05379-7DB3-3147-99E7-6C02023D9C3B}" destId="{F5CBE501-B926-1F40-90D3-405FEBA87DB9}" srcOrd="0" destOrd="0" presId="urn:microsoft.com/office/officeart/2005/8/layout/cycle4"/>
    <dgm:cxn modelId="{433626AE-0C2A-3B42-B582-097BA5AC37B7}" type="presOf" srcId="{4A23FD3C-2E6C-E242-9698-89C6B0563F87}" destId="{CBC5E270-7732-7844-97B8-8663B8A00252}" srcOrd="0" destOrd="0" presId="urn:microsoft.com/office/officeart/2005/8/layout/cycle4"/>
    <dgm:cxn modelId="{9824FFCA-20F1-6E4B-A39C-F4972F66780E}" srcId="{4A23FD3C-2E6C-E242-9698-89C6B0563F87}" destId="{9B173D66-D1E0-114C-9E61-C4AB7F51B022}" srcOrd="1" destOrd="0" parTransId="{6261D293-4463-0F4C-800C-83408D7A0B88}" sibTransId="{FD92975B-08C5-E94F-9C22-94895168F000}"/>
    <dgm:cxn modelId="{238DEAED-A4A7-7C45-833A-46AED9BCA8BE}" type="presParOf" srcId="{CBC5E270-7732-7844-97B8-8663B8A00252}" destId="{73B0EF72-3DC1-2D4F-9C7E-9878C56A82AB}" srcOrd="0" destOrd="0" presId="urn:microsoft.com/office/officeart/2005/8/layout/cycle4"/>
    <dgm:cxn modelId="{4E1806C5-924E-D94B-9DD7-570CEE9D2320}" type="presParOf" srcId="{73B0EF72-3DC1-2D4F-9C7E-9878C56A82AB}" destId="{3FFDFE17-CE8F-AB45-859C-90068D098F03}" srcOrd="0" destOrd="0" presId="urn:microsoft.com/office/officeart/2005/8/layout/cycle4"/>
    <dgm:cxn modelId="{AD30B3CD-46C7-2841-931D-E8FAAA8FB126}" type="presParOf" srcId="{CBC5E270-7732-7844-97B8-8663B8A00252}" destId="{E3D92C34-3C2C-9F43-9AF9-C19CED47E0D4}" srcOrd="1" destOrd="0" presId="urn:microsoft.com/office/officeart/2005/8/layout/cycle4"/>
    <dgm:cxn modelId="{3522602D-E55C-A641-91C2-F228E5B5C937}" type="presParOf" srcId="{E3D92C34-3C2C-9F43-9AF9-C19CED47E0D4}" destId="{9F0E2AE3-7514-3547-ACD0-E5DDFC944F9D}" srcOrd="0" destOrd="0" presId="urn:microsoft.com/office/officeart/2005/8/layout/cycle4"/>
    <dgm:cxn modelId="{5B267127-7F42-5547-8187-F196946978E7}" type="presParOf" srcId="{E3D92C34-3C2C-9F43-9AF9-C19CED47E0D4}" destId="{17265169-02D2-974F-937D-01F28C37A804}" srcOrd="1" destOrd="0" presId="urn:microsoft.com/office/officeart/2005/8/layout/cycle4"/>
    <dgm:cxn modelId="{9EE56A7E-E906-434C-8401-B0BA9541B5FE}" type="presParOf" srcId="{E3D92C34-3C2C-9F43-9AF9-C19CED47E0D4}" destId="{F5CBE501-B926-1F40-90D3-405FEBA87DB9}" srcOrd="2" destOrd="0" presId="urn:microsoft.com/office/officeart/2005/8/layout/cycle4"/>
    <dgm:cxn modelId="{A8B1C913-5FF0-AF4D-B0CC-3B1C6399C155}" type="presParOf" srcId="{E3D92C34-3C2C-9F43-9AF9-C19CED47E0D4}" destId="{7B3268EF-5524-3F44-B93C-2751F90A900A}" srcOrd="3" destOrd="0" presId="urn:microsoft.com/office/officeart/2005/8/layout/cycle4"/>
    <dgm:cxn modelId="{469475C1-041D-074B-81F9-298F6D6563A7}" type="presParOf" srcId="{E3D92C34-3C2C-9F43-9AF9-C19CED47E0D4}" destId="{9C2BB44C-0C26-D942-9332-2177A9631E63}" srcOrd="4" destOrd="0" presId="urn:microsoft.com/office/officeart/2005/8/layout/cycle4"/>
    <dgm:cxn modelId="{4FCC4FDF-9E2B-4D48-9332-01DAA7F47D01}" type="presParOf" srcId="{CBC5E270-7732-7844-97B8-8663B8A00252}" destId="{D369DFF5-5919-794D-B3D3-2755E7719F18}" srcOrd="2" destOrd="0" presId="urn:microsoft.com/office/officeart/2005/8/layout/cycle4"/>
    <dgm:cxn modelId="{42522C55-C773-9848-B0FD-1EE416479AAF}" type="presParOf" srcId="{CBC5E270-7732-7844-97B8-8663B8A00252}" destId="{1CFE9F4C-8717-FD47-A4D6-A67186BF7470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F0E2AE3-7514-3547-ACD0-E5DDFC944F9D}">
      <dsp:nvSpPr>
        <dsp:cNvPr id="0" name=""/>
        <dsp:cNvSpPr/>
      </dsp:nvSpPr>
      <dsp:spPr>
        <a:xfrm>
          <a:off x="797329" y="184293"/>
          <a:ext cx="1399982" cy="1399982"/>
        </a:xfrm>
        <a:prstGeom prst="pieWedge">
          <a:avLst/>
        </a:prstGeom>
        <a:solidFill>
          <a:schemeClr val="accent6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8232" tIns="78232" rIns="78232" bIns="78232" numCol="1" spcCol="1270" anchor="ctr" anchorCtr="0">
          <a:noAutofit/>
        </a:bodyPr>
        <a:lstStyle/>
        <a:p>
          <a:pPr marL="0" lvl="0" indent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b="0" kern="1200" err="1">
              <a:solidFill>
                <a:schemeClr val="bg1"/>
              </a:solidFill>
            </a:rPr>
            <a:t>Sustainablity</a:t>
          </a:r>
          <a:r>
            <a:rPr lang="en-GB" sz="1100" b="0" kern="1200">
              <a:solidFill>
                <a:schemeClr val="bg1"/>
              </a:solidFill>
            </a:rPr>
            <a:t>  Development</a:t>
          </a:r>
        </a:p>
      </dsp:txBody>
      <dsp:txXfrm>
        <a:off x="1207374" y="594338"/>
        <a:ext cx="989937" cy="989937"/>
      </dsp:txXfrm>
    </dsp:sp>
    <dsp:sp modelId="{17265169-02D2-974F-937D-01F28C37A804}">
      <dsp:nvSpPr>
        <dsp:cNvPr id="0" name=""/>
        <dsp:cNvSpPr/>
      </dsp:nvSpPr>
      <dsp:spPr>
        <a:xfrm rot="5400000">
          <a:off x="2261976" y="184293"/>
          <a:ext cx="1399982" cy="1399982"/>
        </a:xfrm>
        <a:prstGeom prst="pieWedge">
          <a:avLst/>
        </a:prstGeom>
        <a:solidFill>
          <a:schemeClr val="accent6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8232" tIns="78232" rIns="78232" bIns="78232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b="0" kern="1200">
              <a:solidFill>
                <a:schemeClr val="bg1"/>
              </a:solidFill>
            </a:rPr>
            <a:t>Renewable Energy</a:t>
          </a:r>
        </a:p>
      </dsp:txBody>
      <dsp:txXfrm rot="-5400000">
        <a:off x="2261976" y="594338"/>
        <a:ext cx="989937" cy="989937"/>
      </dsp:txXfrm>
    </dsp:sp>
    <dsp:sp modelId="{F5CBE501-B926-1F40-90D3-405FEBA87DB9}">
      <dsp:nvSpPr>
        <dsp:cNvPr id="0" name=""/>
        <dsp:cNvSpPr/>
      </dsp:nvSpPr>
      <dsp:spPr>
        <a:xfrm rot="10800000">
          <a:off x="2261976" y="1648940"/>
          <a:ext cx="1399982" cy="1399982"/>
        </a:xfrm>
        <a:prstGeom prst="pieWedge">
          <a:avLst/>
        </a:prstGeom>
        <a:solidFill>
          <a:schemeClr val="accent6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8232" tIns="78232" rIns="78232" bIns="78232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b="0" kern="1200">
              <a:solidFill>
                <a:schemeClr val="bg1"/>
              </a:solidFill>
            </a:rPr>
            <a:t>Individual Circumstance</a:t>
          </a:r>
        </a:p>
      </dsp:txBody>
      <dsp:txXfrm rot="10800000">
        <a:off x="2261976" y="1648940"/>
        <a:ext cx="989937" cy="989937"/>
      </dsp:txXfrm>
    </dsp:sp>
    <dsp:sp modelId="{7B3268EF-5524-3F44-B93C-2751F90A900A}">
      <dsp:nvSpPr>
        <dsp:cNvPr id="0" name=""/>
        <dsp:cNvSpPr/>
      </dsp:nvSpPr>
      <dsp:spPr>
        <a:xfrm rot="16200000">
          <a:off x="797329" y="1648940"/>
          <a:ext cx="1399982" cy="1399982"/>
        </a:xfrm>
        <a:prstGeom prst="pieWedge">
          <a:avLst/>
        </a:prstGeom>
        <a:solidFill>
          <a:schemeClr val="accent6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8232" tIns="78232" rIns="78232" bIns="78232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b="0" kern="1200">
              <a:solidFill>
                <a:schemeClr val="bg1"/>
              </a:solidFill>
            </a:rPr>
            <a:t>Pollution and Emissions</a:t>
          </a:r>
        </a:p>
      </dsp:txBody>
      <dsp:txXfrm rot="5400000">
        <a:off x="1207374" y="1648940"/>
        <a:ext cx="989937" cy="989937"/>
      </dsp:txXfrm>
    </dsp:sp>
    <dsp:sp modelId="{D369DFF5-5919-794D-B3D3-2755E7719F18}">
      <dsp:nvSpPr>
        <dsp:cNvPr id="0" name=""/>
        <dsp:cNvSpPr/>
      </dsp:nvSpPr>
      <dsp:spPr>
        <a:xfrm>
          <a:off x="1987961" y="1325618"/>
          <a:ext cx="483365" cy="420318"/>
        </a:xfrm>
        <a:prstGeom prst="circularArrow">
          <a:avLst/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CFE9F4C-8717-FD47-A4D6-A67186BF7470}">
      <dsp:nvSpPr>
        <dsp:cNvPr id="0" name=""/>
        <dsp:cNvSpPr/>
      </dsp:nvSpPr>
      <dsp:spPr>
        <a:xfrm rot="10800000">
          <a:off x="3526263" y="2050728"/>
          <a:ext cx="483365" cy="420318"/>
        </a:xfrm>
        <a:prstGeom prst="circularArrow">
          <a:avLst/>
        </a:prstGeom>
        <a:solidFill>
          <a:srgbClr val="AAACB1">
            <a:alpha val="0"/>
          </a:srgb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9AD0B7-CB17-3245-BB86-7077AA6B8781}" type="datetimeFigureOut">
              <a:rPr lang="en-DE" smtClean="0"/>
              <a:t>03/21/2024</a:t>
            </a:fld>
            <a:endParaRPr lang="en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EA25670-7BD7-5F4E-ADF3-65AF728F15EB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3243074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A25670-7BD7-5F4E-ADF3-65AF728F15EB}" type="slidenum">
              <a:rPr lang="en-DE" smtClean="0"/>
              <a:t>2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6904417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A25670-7BD7-5F4E-ADF3-65AF728F15EB}" type="slidenum">
              <a:rPr lang="en-DE" smtClean="0"/>
              <a:t>3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5875253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6CF8E79-02D9-4602-8082-50FDC5C17F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4911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6CF8E79-02D9-4602-8082-50FDC5C17F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E1E35853-A1B0-4023-BF3C-61B04200F17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1" i="0" baseline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7943587B-E8D5-45E4-86B2-B1F7BAC78D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608566"/>
            <a:ext cx="11376025" cy="5400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rtl="0">
              <a:lnSpc>
                <a:spcPct val="100000"/>
              </a:lnSpc>
              <a:defRPr sz="2000" b="1" spc="20" baseline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endParaRPr lang="de-DE"/>
          </a:p>
        </p:txBody>
      </p:sp>
      <p:sp>
        <p:nvSpPr>
          <p:cNvPr id="12" name="Foliennummernplatzhalter 3">
            <a:extLst>
              <a:ext uri="{FF2B5EF4-FFF2-40B4-BE49-F238E27FC236}">
                <a16:creationId xmlns:a16="http://schemas.microsoft.com/office/drawing/2014/main" id="{008C61E5-1EF0-4D81-9EBB-77898D332B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7482" y="6597000"/>
            <a:ext cx="306518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defRPr lang="de-DE" sz="800" b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D97C653F-0C8E-4F86-A671-B4CA8D70EC6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00210C8-4DFA-42F3-A592-0F1E5970643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7366" y="1218204"/>
            <a:ext cx="11376645" cy="288000"/>
          </a:xfrm>
          <a:ln>
            <a:noFill/>
          </a:ln>
        </p:spPr>
        <p:txBody>
          <a:bodyPr vert="horz" lIns="0" tIns="18000" rIns="0" bIns="0" rtlCol="0" anchor="t">
            <a:noAutofit/>
          </a:bodyPr>
          <a:lstStyle>
            <a:lvl1pPr marL="0" indent="0" rtl="0">
              <a:buNone/>
              <a:defRPr lang="de-DE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Semibold" panose="020B0702040204020203" pitchFamily="34" charset="0"/>
                <a:ea typeface="Segoe UI Semibold" panose="020B0702040204020203" pitchFamily="34" charset="0"/>
                <a:cs typeface="Segoe UI Semibold" panose="020B0702040204020203" pitchFamily="34" charset="0"/>
              </a:defRPr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marL="182563" lvl="0" indent="-182563"/>
            <a:endParaRPr lang="de-DE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A646CFD-74A7-8D9A-C801-85DB18E8458A}"/>
              </a:ext>
            </a:extLst>
          </p:cNvPr>
          <p:cNvSpPr txBox="1"/>
          <p:nvPr userDrawn="1"/>
        </p:nvSpPr>
        <p:spPr>
          <a:xfrm>
            <a:off x="6273478" y="266218"/>
            <a:ext cx="0" cy="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endParaRPr lang="en-GB" sz="1400" b="0" i="0" u="none" baseline="0">
              <a:solidFill>
                <a:srgbClr val="000000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B7EA4A0-B773-8877-78B6-923B373CBBF0}"/>
              </a:ext>
            </a:extLst>
          </p:cNvPr>
          <p:cNvSpPr txBox="1"/>
          <p:nvPr userDrawn="1"/>
        </p:nvSpPr>
        <p:spPr>
          <a:xfrm>
            <a:off x="12044855" y="294290"/>
            <a:ext cx="0" cy="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endParaRPr lang="en-DE" sz="1400" b="0" i="0" u="none" baseline="0">
              <a:solidFill>
                <a:srgbClr val="000000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40519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AD84F1-8478-37D8-63FE-BD8E7D94191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68945F9-2967-B793-7570-5DA7EC7A3A1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F327250-C0EA-9000-7986-AB44991FF5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BDF0A0-4F9D-2D4E-AF55-57422F98D768}" type="datetimeFigureOut">
              <a:rPr lang="en-DE" smtClean="0"/>
              <a:t>03/21/2024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7F516B-D986-3335-6533-D7F98B1A6F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015C2F-38CB-1935-84DC-F4D8F0DEB0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B9C6A3-4A60-B04A-9C4F-60D1506C799A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5387915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tags" Target="../tags/tag1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F6298B00-BB7F-4C41-9046-5DBFEA3DC0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855284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08" imgH="309" progId="TCLayout.ActiveDocument.1">
                  <p:embed/>
                </p:oleObj>
              </mc:Choice>
              <mc:Fallback>
                <p:oleObj name="think-cell Slide" r:id="rId7" imgW="308" imgH="309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F6298B00-BB7F-4C41-9046-5DBFEA3DC0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FE196475-C1BA-4DB5-9EC5-91D15C6932AE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l" rtl="0"/>
            <a:endParaRPr lang="en-US" sz="2000" b="1" i="0" baseline="0">
              <a:solidFill>
                <a:schemeClr val="tx1"/>
              </a:solidFill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DCC6C4EF-22BC-4D1F-995C-7D19DF46118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8000" y="1773000"/>
            <a:ext cx="11376024" cy="4392000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empower - DO NOT DELETE!!!" hidden="1">
            <a:extLst>
              <a:ext uri="{FF2B5EF4-FFF2-40B4-BE49-F238E27FC236}">
                <a16:creationId xmlns:a16="http://schemas.microsoft.com/office/drawing/2014/main" id="{8FCAC7E4-404C-4DF9-93A8-F0FC9294E0B0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CA538B3-D060-4559-A19E-6B4EDA6B2E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7482" y="6597000"/>
            <a:ext cx="306518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rtl="0">
              <a:defRPr lang="de-DE" sz="800" b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algn="r"/>
            <a:fld id="{D97C653F-0C8E-4F86-A671-B4CA8D70EC64}" type="slidenum">
              <a:rPr lang="en-US" smtClean="0"/>
              <a:pPr algn="r"/>
              <a:t>‹#›</a:t>
            </a:fld>
            <a:endParaRPr lang="en-US"/>
          </a:p>
        </p:txBody>
      </p:sp>
      <p:sp>
        <p:nvSpPr>
          <p:cNvPr id="5" name="Titelplatzhalter 4">
            <a:extLst>
              <a:ext uri="{FF2B5EF4-FFF2-40B4-BE49-F238E27FC236}">
                <a16:creationId xmlns:a16="http://schemas.microsoft.com/office/drawing/2014/main" id="{E4F372C1-A30D-416F-84FC-B511F3B8F5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608566"/>
            <a:ext cx="11376025" cy="54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pPr lvl="0">
              <a:lnSpc>
                <a:spcPct val="100000"/>
              </a:lnSpc>
            </a:pPr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3" name="FooterSimple" hidden="1">
            <a:extLst>
              <a:ext uri="{FF2B5EF4-FFF2-40B4-BE49-F238E27FC236}">
                <a16:creationId xmlns:a16="http://schemas.microsoft.com/office/drawing/2014/main" id="{F59342F5-BC9D-4E9E-8CB6-268DDA75AFBC}"/>
              </a:ext>
            </a:extLst>
          </p:cNvPr>
          <p:cNvSpPr/>
          <p:nvPr userDrawn="1"/>
        </p:nvSpPr>
        <p:spPr>
          <a:xfrm>
            <a:off x="457200" y="6597000"/>
            <a:ext cx="2758800" cy="203621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2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700" b="0" i="0" u="none" baseline="0">
                <a:solidFill>
                  <a:srgbClr val="808080"/>
                </a:solidFill>
                <a:latin typeface="Arial" panose="020B0604020202020204" pitchFamily="34" charset="0"/>
              </a:rPr>
              <a:t>Vorlage </a:t>
            </a:r>
            <a:r>
              <a:rPr lang="en-US" sz="700" b="0" i="0" u="none" baseline="0" err="1">
                <a:solidFill>
                  <a:srgbClr val="808080"/>
                </a:solidFill>
                <a:latin typeface="Arial" panose="020B0604020202020204" pitchFamily="34" charset="0"/>
              </a:rPr>
              <a:t>Ansprechpartnerseite</a:t>
            </a:r>
            <a:r>
              <a:rPr lang="en-US" sz="700" b="0" i="0" u="none" baseline="0">
                <a:solidFill>
                  <a:srgbClr val="808080"/>
                </a:solidFill>
                <a:latin typeface="Arial" panose="020B0604020202020204" pitchFamily="34" charset="0"/>
              </a:rPr>
              <a:t> Premium Design_169_en.pptx</a:t>
            </a:r>
          </a:p>
        </p:txBody>
      </p:sp>
      <p:pic>
        <p:nvPicPr>
          <p:cNvPr id="9" name="Picture 8" descr="A logo with a black background&#10;&#10;Description automatically generated">
            <a:extLst>
              <a:ext uri="{FF2B5EF4-FFF2-40B4-BE49-F238E27FC236}">
                <a16:creationId xmlns:a16="http://schemas.microsoft.com/office/drawing/2014/main" id="{1D8831D6-ED9D-3B17-74D7-5C9B6AA68D10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5695108" y="72143"/>
            <a:ext cx="801783" cy="448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64704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2000" b="1" kern="1200" spc="20" baseline="0" smtClean="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143878"/>
        </a:buClr>
        <a:buFont typeface="Wingdings 2" panose="05020102010507070707" pitchFamily="18" charset="2"/>
        <a:buChar char=""/>
        <a:defRPr sz="14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  <a:lvl2pPr marL="358775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143878"/>
        </a:buClr>
        <a:buFont typeface="Segoe UI" panose="020B0502040204020203" pitchFamily="34" charset="0"/>
        <a:buChar char="–"/>
        <a:defRPr sz="14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2pPr>
      <a:lvl3pPr marL="539750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143878"/>
        </a:buClr>
        <a:buFont typeface="Segoe UI" panose="020B0502040204020203" pitchFamily="34" charset="0"/>
        <a:buChar char="–"/>
        <a:defRPr sz="12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4" pos="257">
          <p15:clr>
            <a:srgbClr val="F26B43"/>
          </p15:clr>
        </p15:guide>
        <p15:guide id="42" pos="7423">
          <p15:clr>
            <a:srgbClr val="F26B43"/>
          </p15:clr>
        </p15:guide>
        <p15:guide id="44" orient="horz" pos="1117">
          <p15:clr>
            <a:srgbClr val="F26B43"/>
          </p15:clr>
        </p15:guide>
        <p15:guide id="52" orient="horz" pos="3884">
          <p15:clr>
            <a:srgbClr val="F26B43"/>
          </p15:clr>
        </p15:guide>
        <p15:guide id="53" orient="horz" pos="411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13" Type="http://schemas.openxmlformats.org/officeDocument/2006/relationships/image" Target="../media/image14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12" Type="http://schemas.openxmlformats.org/officeDocument/2006/relationships/image" Target="../media/image13.sv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17.sv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sv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5" Type="http://schemas.openxmlformats.org/officeDocument/2006/relationships/image" Target="../media/image16.png"/><Relationship Id="rId10" Type="http://schemas.openxmlformats.org/officeDocument/2006/relationships/image" Target="../media/image11.svg"/><Relationship Id="rId4" Type="http://schemas.openxmlformats.org/officeDocument/2006/relationships/image" Target="../media/image5.svg"/><Relationship Id="rId9" Type="http://schemas.openxmlformats.org/officeDocument/2006/relationships/image" Target="../media/image10.png"/><Relationship Id="rId14" Type="http://schemas.openxmlformats.org/officeDocument/2006/relationships/image" Target="../media/image15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0.jpeg"/><Relationship Id="rId4" Type="http://schemas.openxmlformats.org/officeDocument/2006/relationships/image" Target="../media/image19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databank.worldbank.org/source/environment-social-and-governance-(esg)-data" TargetMode="External"/><Relationship Id="rId2" Type="http://schemas.openxmlformats.org/officeDocument/2006/relationships/hyperlink" Target="https://data.worldbank.org/indicator/EN.ATM.CO2E.KT?locations=AR-AU-BR-CA-FR-DE-CN-IN-ID-IT-JP-KR-MX-RU-SA-ZA-TR-US-GB" TargetMode="Externa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3EC0EE-B9C5-2F98-3E69-DB5C9158882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DE"/>
              <a:t>G20 Energy and Sustainability Repor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E1DD93C-5885-8408-D17A-8CB610B2FF9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542450"/>
          </a:xfrm>
        </p:spPr>
        <p:txBody>
          <a:bodyPr/>
          <a:lstStyle/>
          <a:p>
            <a:r>
              <a:rPr lang="en-DE" sz="1600"/>
              <a:t>MT412</a:t>
            </a:r>
            <a:br>
              <a:rPr lang="en-DE" sz="1600"/>
            </a:br>
            <a:endParaRPr lang="en-DE" sz="160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5B23A0F-49F9-BC5E-6884-AC9FA9C9DE87}"/>
              </a:ext>
            </a:extLst>
          </p:cNvPr>
          <p:cNvSpPr txBox="1"/>
          <p:nvPr/>
        </p:nvSpPr>
        <p:spPr>
          <a:xfrm>
            <a:off x="633663" y="4767798"/>
            <a:ext cx="3558639" cy="193567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DE" sz="1600"/>
              <a:t>Submitted to Dr. Mathieu Mercadier</a:t>
            </a:r>
          </a:p>
          <a:p>
            <a:endParaRPr lang="en-DE" sz="1600"/>
          </a:p>
          <a:p>
            <a:r>
              <a:rPr lang="en-DE" sz="1600"/>
              <a:t>Submitted by:</a:t>
            </a:r>
            <a:r>
              <a:rPr lang="de-DE" sz="1600"/>
              <a:t>	Group 4</a:t>
            </a:r>
            <a:endParaRPr lang="en-DE" sz="1600"/>
          </a:p>
          <a:p>
            <a:r>
              <a:rPr lang="en-DE" sz="1600"/>
              <a:t>Leon Kozak 	(22108467)</a:t>
            </a:r>
          </a:p>
          <a:p>
            <a:r>
              <a:rPr lang="en-DE" sz="1600"/>
              <a:t>Leonie Röskam 	(22108483)</a:t>
            </a:r>
          </a:p>
          <a:p>
            <a:r>
              <a:rPr lang="en-DE" sz="1600"/>
              <a:t>Anika Stammen 	(22108505)</a:t>
            </a:r>
            <a:endParaRPr lang="en-DE" sz="1600">
              <a:cs typeface="Segoe UI"/>
            </a:endParaRPr>
          </a:p>
          <a:p>
            <a:r>
              <a:rPr lang="en-DE" sz="1600"/>
              <a:t>Lasse Willen 	(22108556</a:t>
            </a:r>
            <a:r>
              <a:rPr lang="en-DE" sz="180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2524904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ADE258D5-7CF7-D3AD-852C-FFC197A9EE4B}"/>
              </a:ext>
            </a:extLst>
          </p:cNvPr>
          <p:cNvSpPr/>
          <p:nvPr/>
        </p:nvSpPr>
        <p:spPr>
          <a:xfrm>
            <a:off x="5753239" y="4121909"/>
            <a:ext cx="6030772" cy="2394286"/>
          </a:xfrm>
          <a:prstGeom prst="rect">
            <a:avLst/>
          </a:prstGeom>
          <a:solidFill>
            <a:srgbClr val="E6E6E6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DE" sz="1400" b="0" i="0" u="none" baseline="0">
              <a:solidFill>
                <a:srgbClr val="000000"/>
              </a:solidFill>
              <a:highlight>
                <a:srgbClr val="C0C0C0"/>
              </a:highlight>
              <a:latin typeface="Segoe UI" panose="020B0502040204020203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33040AD-C425-4315-ECF8-A05DEC77D736}"/>
              </a:ext>
            </a:extLst>
          </p:cNvPr>
          <p:cNvSpPr/>
          <p:nvPr/>
        </p:nvSpPr>
        <p:spPr>
          <a:xfrm>
            <a:off x="6351450" y="2251749"/>
            <a:ext cx="2360567" cy="500743"/>
          </a:xfrm>
          <a:prstGeom prst="rect">
            <a:avLst/>
          </a:prstGeom>
          <a:solidFill>
            <a:srgbClr val="517A16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200" err="1">
                <a:solidFill>
                  <a:schemeClr val="bg1"/>
                </a:solidFill>
              </a:rPr>
              <a:t>Emissions</a:t>
            </a:r>
            <a:r>
              <a:rPr lang="de-DE" sz="1200">
                <a:solidFill>
                  <a:schemeClr val="bg1"/>
                </a:solidFill>
              </a:rPr>
              <a:t> and Pollution</a:t>
            </a:r>
            <a:endParaRPr lang="en-DE" sz="1200" b="0" i="0" u="none" baseline="0">
              <a:solidFill>
                <a:schemeClr val="bg1"/>
              </a:solidFill>
            </a:endParaRPr>
          </a:p>
        </p:txBody>
      </p:sp>
      <p:pic>
        <p:nvPicPr>
          <p:cNvPr id="10" name="Graphic 9" descr="Power Plant outline">
            <a:extLst>
              <a:ext uri="{FF2B5EF4-FFF2-40B4-BE49-F238E27FC236}">
                <a16:creationId xmlns:a16="http://schemas.microsoft.com/office/drawing/2014/main" id="{D2603647-5E7A-FF93-BBA8-66CEFA09A0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845996" y="2356964"/>
            <a:ext cx="320906" cy="320906"/>
          </a:xfrm>
          <a:prstGeom prst="rect">
            <a:avLst/>
          </a:prstGeom>
        </p:spPr>
      </p:pic>
      <p:sp>
        <p:nvSpPr>
          <p:cNvPr id="2" name="Oval 1">
            <a:extLst>
              <a:ext uri="{FF2B5EF4-FFF2-40B4-BE49-F238E27FC236}">
                <a16:creationId xmlns:a16="http://schemas.microsoft.com/office/drawing/2014/main" id="{F60F1B1F-8F46-F2B1-D706-A14C145DA2EE}"/>
              </a:ext>
            </a:extLst>
          </p:cNvPr>
          <p:cNvSpPr/>
          <p:nvPr/>
        </p:nvSpPr>
        <p:spPr>
          <a:xfrm>
            <a:off x="5753239" y="2268257"/>
            <a:ext cx="506420" cy="506420"/>
          </a:xfrm>
          <a:prstGeom prst="ellipse">
            <a:avLst/>
          </a:prstGeom>
          <a:noFill/>
          <a:ln w="1905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DE" sz="1400" b="0" i="0" u="none" baseline="0">
              <a:solidFill>
                <a:srgbClr val="000000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59C099C-83F9-C2BE-C41E-348A9C30503B}"/>
              </a:ext>
            </a:extLst>
          </p:cNvPr>
          <p:cNvSpPr/>
          <p:nvPr/>
        </p:nvSpPr>
        <p:spPr>
          <a:xfrm>
            <a:off x="9434333" y="3046658"/>
            <a:ext cx="2360567" cy="500743"/>
          </a:xfrm>
          <a:prstGeom prst="rect">
            <a:avLst/>
          </a:prstGeom>
          <a:solidFill>
            <a:srgbClr val="517A16">
              <a:alpha val="70196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200" err="1">
                <a:solidFill>
                  <a:schemeClr val="bg1"/>
                </a:solidFill>
              </a:rPr>
              <a:t>Forestry</a:t>
            </a:r>
            <a:endParaRPr lang="en-DE" sz="1200" b="0" i="0" u="none" baseline="0">
              <a:solidFill>
                <a:schemeClr val="bg1"/>
              </a:solidFill>
            </a:endParaRPr>
          </a:p>
        </p:txBody>
      </p:sp>
      <p:pic>
        <p:nvPicPr>
          <p:cNvPr id="42" name="Graphic 41" descr="Fir tree outline">
            <a:extLst>
              <a:ext uri="{FF2B5EF4-FFF2-40B4-BE49-F238E27FC236}">
                <a16:creationId xmlns:a16="http://schemas.microsoft.com/office/drawing/2014/main" id="{DA693C98-B44C-4D77-985B-79CC1787DEA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921628" y="3116586"/>
            <a:ext cx="373784" cy="373784"/>
          </a:xfrm>
          <a:prstGeom prst="rect">
            <a:avLst/>
          </a:prstGeom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79FBC0A5-086C-2528-CEA1-E8F73EB9FE9E}"/>
              </a:ext>
            </a:extLst>
          </p:cNvPr>
          <p:cNvSpPr/>
          <p:nvPr/>
        </p:nvSpPr>
        <p:spPr>
          <a:xfrm>
            <a:off x="8851252" y="3052683"/>
            <a:ext cx="494723" cy="494723"/>
          </a:xfrm>
          <a:prstGeom prst="ellipse">
            <a:avLst/>
          </a:prstGeom>
          <a:noFill/>
          <a:ln w="1905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DE" sz="1400" b="0" i="0" u="none" baseline="0">
              <a:solidFill>
                <a:srgbClr val="000000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085F1ED6-64CA-26AD-95FE-5BF48FC7FDD2}"/>
              </a:ext>
            </a:extLst>
          </p:cNvPr>
          <p:cNvSpPr/>
          <p:nvPr/>
        </p:nvSpPr>
        <p:spPr>
          <a:xfrm>
            <a:off x="6351450" y="3046663"/>
            <a:ext cx="2360567" cy="500743"/>
          </a:xfrm>
          <a:prstGeom prst="rect">
            <a:avLst/>
          </a:prstGeom>
          <a:solidFill>
            <a:srgbClr val="638834">
              <a:alpha val="80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200" err="1">
                <a:solidFill>
                  <a:schemeClr val="bg1"/>
                </a:solidFill>
              </a:rPr>
              <a:t>Temperature</a:t>
            </a:r>
            <a:r>
              <a:rPr lang="de-DE" sz="1200">
                <a:solidFill>
                  <a:schemeClr val="bg1"/>
                </a:solidFill>
              </a:rPr>
              <a:t>: Cooling and </a:t>
            </a:r>
            <a:r>
              <a:rPr lang="de-DE" sz="1200" err="1">
                <a:solidFill>
                  <a:schemeClr val="bg1"/>
                </a:solidFill>
              </a:rPr>
              <a:t>heating</a:t>
            </a:r>
            <a:r>
              <a:rPr lang="de-DE" sz="1200">
                <a:solidFill>
                  <a:schemeClr val="bg1"/>
                </a:solidFill>
              </a:rPr>
              <a:t> </a:t>
            </a:r>
            <a:r>
              <a:rPr lang="de-DE" sz="1200" err="1">
                <a:solidFill>
                  <a:schemeClr val="bg1"/>
                </a:solidFill>
              </a:rPr>
              <a:t>days</a:t>
            </a:r>
            <a:endParaRPr lang="en-DE" sz="1200" b="0" i="0" u="none" baseline="0">
              <a:solidFill>
                <a:schemeClr val="bg1"/>
              </a:solidFill>
            </a:endParaRPr>
          </a:p>
        </p:txBody>
      </p:sp>
      <p:pic>
        <p:nvPicPr>
          <p:cNvPr id="5" name="Graphic 4" descr="Thermometer with solid fill">
            <a:extLst>
              <a:ext uri="{FF2B5EF4-FFF2-40B4-BE49-F238E27FC236}">
                <a16:creationId xmlns:a16="http://schemas.microsoft.com/office/drawing/2014/main" id="{21E934EF-C01D-8F79-3A5D-DBCF4EFDC76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823051" y="3117094"/>
            <a:ext cx="369107" cy="369107"/>
          </a:xfrm>
          <a:prstGeom prst="rect">
            <a:avLst/>
          </a:prstGeom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DE492918-6D01-9E31-6319-A7175FED4AB0}"/>
              </a:ext>
            </a:extLst>
          </p:cNvPr>
          <p:cNvSpPr/>
          <p:nvPr/>
        </p:nvSpPr>
        <p:spPr>
          <a:xfrm>
            <a:off x="5758916" y="3046663"/>
            <a:ext cx="500743" cy="500743"/>
          </a:xfrm>
          <a:prstGeom prst="ellipse">
            <a:avLst/>
          </a:prstGeom>
          <a:noFill/>
          <a:ln w="1905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DE" sz="1400" b="0" i="0" u="none" baseline="0">
              <a:solidFill>
                <a:srgbClr val="000000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AF60A61-1DA1-60B2-7CCC-6682B956F6FC}"/>
              </a:ext>
            </a:extLst>
          </p:cNvPr>
          <p:cNvSpPr/>
          <p:nvPr/>
        </p:nvSpPr>
        <p:spPr>
          <a:xfrm>
            <a:off x="9434333" y="2251749"/>
            <a:ext cx="2360567" cy="500743"/>
          </a:xfrm>
          <a:prstGeom prst="rect">
            <a:avLst/>
          </a:prstGeom>
          <a:solidFill>
            <a:srgbClr val="517A16">
              <a:alpha val="89804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200" b="0" i="0" u="none" baseline="0">
                <a:solidFill>
                  <a:schemeClr val="bg1"/>
                </a:solidFill>
              </a:rPr>
              <a:t>(</a:t>
            </a:r>
            <a:r>
              <a:rPr lang="de-DE" sz="1200" b="0" i="0" u="none" baseline="0" err="1">
                <a:solidFill>
                  <a:schemeClr val="bg1"/>
                </a:solidFill>
              </a:rPr>
              <a:t>Renewable</a:t>
            </a:r>
            <a:r>
              <a:rPr lang="de-DE" sz="1200" b="0" i="0" u="none" baseline="0">
                <a:solidFill>
                  <a:schemeClr val="bg1"/>
                </a:solidFill>
              </a:rPr>
              <a:t>) Energy </a:t>
            </a:r>
            <a:r>
              <a:rPr lang="de-DE" sz="1200" b="0" i="0" u="none" baseline="0" err="1">
                <a:solidFill>
                  <a:schemeClr val="bg1"/>
                </a:solidFill>
              </a:rPr>
              <a:t>Production</a:t>
            </a:r>
            <a:r>
              <a:rPr lang="de-DE" sz="1200" b="0" i="0" u="none" baseline="0">
                <a:solidFill>
                  <a:schemeClr val="bg1"/>
                </a:solidFill>
              </a:rPr>
              <a:t> and </a:t>
            </a:r>
            <a:r>
              <a:rPr lang="de-DE" sz="1200" b="0" i="0" u="none" baseline="0" err="1">
                <a:solidFill>
                  <a:schemeClr val="bg1"/>
                </a:solidFill>
              </a:rPr>
              <a:t>Consumption</a:t>
            </a:r>
            <a:endParaRPr lang="en-DE" sz="1200" b="0" i="0" u="none" baseline="0">
              <a:solidFill>
                <a:schemeClr val="bg1"/>
              </a:solidFill>
            </a:endParaRPr>
          </a:p>
        </p:txBody>
      </p:sp>
      <p:pic>
        <p:nvPicPr>
          <p:cNvPr id="12" name="Graphic 11" descr="Wind Turbines outline">
            <a:extLst>
              <a:ext uri="{FF2B5EF4-FFF2-40B4-BE49-F238E27FC236}">
                <a16:creationId xmlns:a16="http://schemas.microsoft.com/office/drawing/2014/main" id="{645326F3-1391-5EA3-5AD0-350852FB267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904806" y="2336942"/>
            <a:ext cx="369050" cy="369050"/>
          </a:xfrm>
          <a:prstGeom prst="rect">
            <a:avLst/>
          </a:prstGeom>
        </p:spPr>
      </p:pic>
      <p:sp>
        <p:nvSpPr>
          <p:cNvPr id="11" name="Oval 10">
            <a:extLst>
              <a:ext uri="{FF2B5EF4-FFF2-40B4-BE49-F238E27FC236}">
                <a16:creationId xmlns:a16="http://schemas.microsoft.com/office/drawing/2014/main" id="{728F5BC6-1FDB-76AA-7EFA-C6F5E5A5B5F3}"/>
              </a:ext>
            </a:extLst>
          </p:cNvPr>
          <p:cNvSpPr/>
          <p:nvPr/>
        </p:nvSpPr>
        <p:spPr>
          <a:xfrm>
            <a:off x="8836122" y="2251749"/>
            <a:ext cx="506420" cy="506420"/>
          </a:xfrm>
          <a:prstGeom prst="ellipse">
            <a:avLst/>
          </a:prstGeom>
          <a:noFill/>
          <a:ln w="1905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DE" sz="1400" b="0" i="0" u="none" baseline="0">
              <a:solidFill>
                <a:srgbClr val="000000"/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1374A8CC-6938-2639-86C0-8AC95B4FD8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i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+mn-lt"/>
              </a:rPr>
              <a:t>Assessing the Environmental Footprint: A Deep Dive into G20 Nations' Sustainability Metrics</a:t>
            </a:r>
            <a:endParaRPr lang="en-DE">
              <a:latin typeface="+mn-lt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086EEA7-B14E-C540-30CD-D037C03841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DE">
                <a:latin typeface="+mn-lt"/>
              </a:rPr>
              <a:t>Introduction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AA4CEF8-2395-ACBE-2DB8-54232815C1AD}"/>
              </a:ext>
            </a:extLst>
          </p:cNvPr>
          <p:cNvSpPr txBox="1"/>
          <p:nvPr/>
        </p:nvSpPr>
        <p:spPr>
          <a:xfrm>
            <a:off x="457200" y="108284"/>
            <a:ext cx="0" cy="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endParaRPr lang="en-DE" sz="1400" b="0" i="0" u="none" baseline="0">
              <a:solidFill>
                <a:srgbClr val="000000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671F2157-E3A8-74BE-E8A6-519D79F6F157}"/>
              </a:ext>
            </a:extLst>
          </p:cNvPr>
          <p:cNvSpPr txBox="1">
            <a:spLocks/>
          </p:cNvSpPr>
          <p:nvPr/>
        </p:nvSpPr>
        <p:spPr>
          <a:xfrm>
            <a:off x="407988" y="1787614"/>
            <a:ext cx="3772126" cy="229436"/>
          </a:xfrm>
          <a:prstGeom prst="rect">
            <a:avLst/>
          </a:prstGeom>
          <a:noFill/>
          <a:ln>
            <a:noFill/>
          </a:ln>
        </p:spPr>
        <p:txBody>
          <a:bodyPr vert="horz" lIns="0" tIns="18000" rIns="0" bIns="0" rtlCol="0" anchor="t">
            <a:noAutofit/>
          </a:bodyPr>
          <a:lstStyle>
            <a:defPPr>
              <a:defRPr lang="de-DE"/>
            </a:defPPr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43878"/>
              </a:buClr>
              <a:buFont typeface="Arial" panose="020B0604020202020204" pitchFamily="34" charset="0"/>
              <a:buChar char="•"/>
              <a:defRPr sz="1200">
                <a:latin typeface="Segoe UI Semibold" panose="020B0702040204020203" pitchFamily="34" charset="0"/>
                <a:ea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358775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43878"/>
              </a:buClr>
              <a:buFont typeface="Segoe UI" panose="020B0502040204020203" pitchFamily="34" charset="0"/>
              <a:buChar char="–"/>
              <a:defRPr sz="140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539750" indent="-18097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43878"/>
              </a:buClr>
              <a:buFont typeface="Segoe UI" panose="020B0502040204020203" pitchFamily="34" charset="0"/>
              <a:buChar char="–"/>
              <a:defRPr sz="120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200" b="1">
                <a:solidFill>
                  <a:schemeClr val="tx1"/>
                </a:solidFill>
                <a:latin typeface="+mn-lt"/>
              </a:rPr>
              <a:t>Structured analysis and cleaning of dataset</a:t>
            </a:r>
            <a:endParaRPr lang="en-US" sz="1000" b="1">
              <a:solidFill>
                <a:schemeClr val="tx1"/>
              </a:solidFill>
              <a:latin typeface="+mn-lt"/>
            </a:endParaRP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F402C0A1-BE6D-5022-8AEE-EFF69F12B5B6}"/>
              </a:ext>
            </a:extLst>
          </p:cNvPr>
          <p:cNvCxnSpPr>
            <a:cxnSpLocks/>
          </p:cNvCxnSpPr>
          <p:nvPr/>
        </p:nvCxnSpPr>
        <p:spPr>
          <a:xfrm>
            <a:off x="399363" y="2017050"/>
            <a:ext cx="3116625" cy="0"/>
          </a:xfrm>
          <a:prstGeom prst="line">
            <a:avLst/>
          </a:prstGeom>
          <a:ln w="9525">
            <a:solidFill>
              <a:schemeClr val="bg2">
                <a:lumMod val="9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 43">
            <a:extLst>
              <a:ext uri="{FF2B5EF4-FFF2-40B4-BE49-F238E27FC236}">
                <a16:creationId xmlns:a16="http://schemas.microsoft.com/office/drawing/2014/main" id="{2B258DBB-D630-0A79-DA77-7B71C538F527}"/>
              </a:ext>
            </a:extLst>
          </p:cNvPr>
          <p:cNvSpPr/>
          <p:nvPr/>
        </p:nvSpPr>
        <p:spPr>
          <a:xfrm>
            <a:off x="897404" y="2211709"/>
            <a:ext cx="4604548" cy="1335697"/>
          </a:xfrm>
          <a:prstGeom prst="rect">
            <a:avLst/>
          </a:prstGeom>
          <a:solidFill>
            <a:schemeClr val="accent6">
              <a:lumMod val="20000"/>
              <a:lumOff val="80000"/>
              <a:alpha val="5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200" i="0" u="none" baseline="0">
              <a:solidFill>
                <a:schemeClr val="tx1"/>
              </a:solidFill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279C0A90-B026-034A-21E5-B5A40A97A8C6}"/>
              </a:ext>
            </a:extLst>
          </p:cNvPr>
          <p:cNvSpPr>
            <a:spLocks noChangeAspect="1"/>
          </p:cNvSpPr>
          <p:nvPr/>
        </p:nvSpPr>
        <p:spPr>
          <a:xfrm>
            <a:off x="407900" y="2359409"/>
            <a:ext cx="981370" cy="9828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400" b="0" i="0" u="none" baseline="0">
              <a:ln>
                <a:solidFill>
                  <a:schemeClr val="accent5"/>
                </a:solidFill>
              </a:ln>
              <a:noFill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35C69BE-03F4-2FA2-CC30-02BAF83D3EC5}"/>
              </a:ext>
            </a:extLst>
          </p:cNvPr>
          <p:cNvSpPr txBox="1"/>
          <p:nvPr/>
        </p:nvSpPr>
        <p:spPr>
          <a:xfrm>
            <a:off x="1530026" y="2417717"/>
            <a:ext cx="3837621" cy="982800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>
              <a:lnSpc>
                <a:spcPts val="1620"/>
              </a:lnSpc>
              <a:buClr>
                <a:schemeClr val="tx1"/>
              </a:buClr>
            </a:pPr>
            <a:r>
              <a:rPr lang="en-GB" sz="1200" b="1" i="0" u="none" baseline="0"/>
              <a:t>Dataset Selection</a:t>
            </a:r>
          </a:p>
          <a:p>
            <a:pPr marL="228600" indent="-228600">
              <a:lnSpc>
                <a:spcPts val="162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200"/>
              <a:t>Dataset collection based on data relevance for current global developments</a:t>
            </a:r>
          </a:p>
          <a:p>
            <a:pPr marL="228600" indent="-228600">
              <a:lnSpc>
                <a:spcPts val="162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200"/>
              <a:t>Selection of reliable data and high-quality set</a:t>
            </a:r>
          </a:p>
          <a:p>
            <a:pPr marL="228600" indent="-228600">
              <a:lnSpc>
                <a:spcPts val="162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GB" sz="1400"/>
          </a:p>
          <a:p>
            <a:pPr marL="285750" indent="-285750">
              <a:lnSpc>
                <a:spcPts val="162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GB" sz="1400" i="0" u="none" baseline="0">
              <a:solidFill>
                <a:schemeClr val="tx1"/>
              </a:solidFill>
            </a:endParaRPr>
          </a:p>
          <a:p>
            <a:pPr marL="285750" indent="-285750">
              <a:lnSpc>
                <a:spcPts val="162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GB" sz="1400"/>
          </a:p>
          <a:p>
            <a:pPr marL="285750" indent="-285750">
              <a:lnSpc>
                <a:spcPts val="162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GB" sz="1400" i="0" u="none" baseline="0">
              <a:solidFill>
                <a:schemeClr val="tx1"/>
              </a:solidFill>
            </a:endParaRPr>
          </a:p>
          <a:p>
            <a:pPr algn="l" rtl="0" eaLnBrk="1" fontAlgn="auto" hangingPunct="1">
              <a:lnSpc>
                <a:spcPts val="162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endParaRPr lang="en-GB" sz="1600" b="0" i="0" u="none" baseline="0">
              <a:solidFill>
                <a:srgbClr val="000000"/>
              </a:solidFill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47F6967-7758-4966-B5E2-0F7C183B3A55}"/>
              </a:ext>
            </a:extLst>
          </p:cNvPr>
          <p:cNvSpPr/>
          <p:nvPr/>
        </p:nvSpPr>
        <p:spPr>
          <a:xfrm>
            <a:off x="897403" y="3709639"/>
            <a:ext cx="4604548" cy="1335697"/>
          </a:xfrm>
          <a:prstGeom prst="rect">
            <a:avLst/>
          </a:prstGeom>
          <a:solidFill>
            <a:schemeClr val="accent6">
              <a:lumMod val="40000"/>
              <a:lumOff val="60000"/>
              <a:alpha val="6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200" i="0" u="none" baseline="0">
              <a:solidFill>
                <a:schemeClr val="tx1"/>
              </a:solidFill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CD576789-2C17-EC58-3F70-0AC56BFB05A8}"/>
              </a:ext>
            </a:extLst>
          </p:cNvPr>
          <p:cNvSpPr>
            <a:spLocks noChangeAspect="1"/>
          </p:cNvSpPr>
          <p:nvPr/>
        </p:nvSpPr>
        <p:spPr>
          <a:xfrm>
            <a:off x="407900" y="3857339"/>
            <a:ext cx="981370" cy="9828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400" b="0" i="0" u="none" baseline="0">
              <a:solidFill>
                <a:srgbClr val="000000"/>
              </a:solidFill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34E4354F-6C47-201F-2622-F2DC0520B95A}"/>
              </a:ext>
            </a:extLst>
          </p:cNvPr>
          <p:cNvSpPr txBox="1"/>
          <p:nvPr/>
        </p:nvSpPr>
        <p:spPr>
          <a:xfrm>
            <a:off x="1530026" y="3915948"/>
            <a:ext cx="3837621" cy="982800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>
              <a:lnSpc>
                <a:spcPts val="1620"/>
              </a:lnSpc>
              <a:buClr>
                <a:schemeClr val="tx1"/>
              </a:buClr>
            </a:pPr>
            <a:r>
              <a:rPr lang="en-GB" sz="1200" b="1"/>
              <a:t>Dataset Analysis </a:t>
            </a:r>
          </a:p>
          <a:p>
            <a:pPr marL="171450" indent="-171450">
              <a:lnSpc>
                <a:spcPts val="162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200"/>
              <a:t>Analysis of data by scanning dataset and checking for correlations in the data</a:t>
            </a:r>
          </a:p>
          <a:p>
            <a:pPr marL="171450" indent="-171450">
              <a:lnSpc>
                <a:spcPts val="162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200"/>
              <a:t>Outlier detection</a:t>
            </a:r>
          </a:p>
          <a:p>
            <a:pPr marL="171450" indent="-171450">
              <a:lnSpc>
                <a:spcPts val="162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200"/>
              <a:t>Add columns via DAX Code Column Programming</a:t>
            </a:r>
          </a:p>
          <a:p>
            <a:pPr marL="285750" indent="-285750">
              <a:lnSpc>
                <a:spcPts val="162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GB" sz="1200"/>
          </a:p>
          <a:p>
            <a:pPr marL="285750" indent="-285750">
              <a:lnSpc>
                <a:spcPts val="162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GB" sz="1400"/>
          </a:p>
          <a:p>
            <a:pPr marL="285750" indent="-285750">
              <a:lnSpc>
                <a:spcPts val="162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GB" sz="1400" i="0" u="none" baseline="0">
              <a:solidFill>
                <a:schemeClr val="tx1"/>
              </a:solidFill>
            </a:endParaRPr>
          </a:p>
          <a:p>
            <a:pPr marL="285750" indent="-285750">
              <a:lnSpc>
                <a:spcPts val="162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GB" sz="1400"/>
          </a:p>
          <a:p>
            <a:pPr marL="285750" indent="-285750">
              <a:lnSpc>
                <a:spcPts val="162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GB" sz="1400" i="0" u="none" baseline="0">
              <a:solidFill>
                <a:schemeClr val="tx1"/>
              </a:solidFill>
            </a:endParaRPr>
          </a:p>
          <a:p>
            <a:pPr algn="l" rtl="0" eaLnBrk="1" fontAlgn="auto" hangingPunct="1">
              <a:lnSpc>
                <a:spcPts val="162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endParaRPr lang="en-GB" sz="1600" b="0" i="0" u="none" baseline="0">
              <a:solidFill>
                <a:srgbClr val="000000"/>
              </a:solidFill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AD7B5BE8-E1C9-EFAA-C91F-39A111BBC438}"/>
              </a:ext>
            </a:extLst>
          </p:cNvPr>
          <p:cNvSpPr/>
          <p:nvPr/>
        </p:nvSpPr>
        <p:spPr>
          <a:xfrm>
            <a:off x="897403" y="5207569"/>
            <a:ext cx="4604548" cy="1335697"/>
          </a:xfrm>
          <a:prstGeom prst="rect">
            <a:avLst/>
          </a:prstGeom>
          <a:solidFill>
            <a:srgbClr val="A4D67D">
              <a:alpha val="60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 algn="ctr" rtl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endParaRPr lang="en-GB" sz="1200" i="0" u="none" baseline="0">
              <a:solidFill>
                <a:schemeClr val="tx1"/>
              </a:solidFill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DD5F004-8794-6181-EE37-A49954D48C7A}"/>
              </a:ext>
            </a:extLst>
          </p:cNvPr>
          <p:cNvSpPr>
            <a:spLocks noChangeAspect="1"/>
          </p:cNvSpPr>
          <p:nvPr/>
        </p:nvSpPr>
        <p:spPr>
          <a:xfrm>
            <a:off x="407900" y="5355269"/>
            <a:ext cx="981370" cy="9828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400" b="0" i="0" u="none" baseline="0">
              <a:solidFill>
                <a:srgbClr val="000000"/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5C1A0185-66D7-84FE-9B16-3FB0AFBD914B}"/>
              </a:ext>
            </a:extLst>
          </p:cNvPr>
          <p:cNvSpPr txBox="1"/>
          <p:nvPr/>
        </p:nvSpPr>
        <p:spPr>
          <a:xfrm>
            <a:off x="1530026" y="5413878"/>
            <a:ext cx="3837621" cy="982800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>
              <a:lnSpc>
                <a:spcPts val="1620"/>
              </a:lnSpc>
              <a:buClr>
                <a:schemeClr val="tx1"/>
              </a:buClr>
            </a:pPr>
            <a:r>
              <a:rPr lang="en-GB" sz="1200" b="1"/>
              <a:t>Dataset Visualization</a:t>
            </a:r>
          </a:p>
          <a:p>
            <a:pPr marL="228600" indent="-228600">
              <a:lnSpc>
                <a:spcPts val="162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200"/>
              <a:t>Visualization focused on showcasing most relevant data</a:t>
            </a:r>
          </a:p>
          <a:p>
            <a:pPr marL="228600" indent="-228600">
              <a:lnSpc>
                <a:spcPts val="162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200"/>
              <a:t>Use of interactivity to present “surprising” findings </a:t>
            </a:r>
          </a:p>
          <a:p>
            <a:pPr marL="228600" indent="-228600">
              <a:lnSpc>
                <a:spcPts val="162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GB" sz="1400"/>
          </a:p>
          <a:p>
            <a:pPr marL="228600" indent="-228600">
              <a:lnSpc>
                <a:spcPts val="1620"/>
              </a:lnSpc>
              <a:buClr>
                <a:schemeClr val="tx1"/>
              </a:buClr>
              <a:buFont typeface="+mj-lt"/>
              <a:buAutoNum type="arabicPeriod"/>
            </a:pPr>
            <a:endParaRPr lang="en-GB" sz="1400"/>
          </a:p>
          <a:p>
            <a:pPr>
              <a:lnSpc>
                <a:spcPts val="1620"/>
              </a:lnSpc>
              <a:buClr>
                <a:schemeClr val="tx1"/>
              </a:buClr>
            </a:pPr>
            <a:endParaRPr lang="en-GB" sz="1400"/>
          </a:p>
          <a:p>
            <a:pPr marL="285750" indent="-285750">
              <a:lnSpc>
                <a:spcPts val="162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GB" sz="1400" i="0" u="none" baseline="0">
              <a:solidFill>
                <a:schemeClr val="tx1"/>
              </a:solidFill>
            </a:endParaRPr>
          </a:p>
          <a:p>
            <a:pPr marL="285750" indent="-285750">
              <a:lnSpc>
                <a:spcPts val="162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GB" sz="1400"/>
          </a:p>
          <a:p>
            <a:pPr marL="285750" indent="-285750">
              <a:lnSpc>
                <a:spcPts val="162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GB" sz="1400" i="0" u="none" baseline="0">
              <a:solidFill>
                <a:schemeClr val="tx1"/>
              </a:solidFill>
            </a:endParaRPr>
          </a:p>
          <a:p>
            <a:pPr algn="l" rtl="0" eaLnBrk="1" fontAlgn="auto" hangingPunct="1">
              <a:lnSpc>
                <a:spcPts val="162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endParaRPr lang="en-GB" sz="1600" b="0" i="0" u="none" baseline="0">
              <a:solidFill>
                <a:srgbClr val="000000"/>
              </a:solidFill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4" name="Graphic 3" descr="Magnifying glass with solid fill">
            <a:extLst>
              <a:ext uri="{FF2B5EF4-FFF2-40B4-BE49-F238E27FC236}">
                <a16:creationId xmlns:a16="http://schemas.microsoft.com/office/drawing/2014/main" id="{9184C9F6-F691-F3AC-54FC-4EA1A3762C7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26785" y="2579009"/>
            <a:ext cx="543600" cy="543600"/>
          </a:xfrm>
          <a:prstGeom prst="rect">
            <a:avLst/>
          </a:prstGeom>
        </p:spPr>
      </p:pic>
      <p:pic>
        <p:nvPicPr>
          <p:cNvPr id="18" name="Graphic 17" descr="Illustrator with solid fill">
            <a:extLst>
              <a:ext uri="{FF2B5EF4-FFF2-40B4-BE49-F238E27FC236}">
                <a16:creationId xmlns:a16="http://schemas.microsoft.com/office/drawing/2014/main" id="{2EBB2D69-5273-83E9-2AD1-F7D25EE52F65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25603" y="5574869"/>
            <a:ext cx="543600" cy="543600"/>
          </a:xfrm>
          <a:prstGeom prst="rect">
            <a:avLst/>
          </a:prstGeom>
        </p:spPr>
      </p:pic>
      <p:pic>
        <p:nvPicPr>
          <p:cNvPr id="31" name="Graphic 30" descr="Research with solid fill">
            <a:extLst>
              <a:ext uri="{FF2B5EF4-FFF2-40B4-BE49-F238E27FC236}">
                <a16:creationId xmlns:a16="http://schemas.microsoft.com/office/drawing/2014/main" id="{CB9B0788-AD2E-DBCA-DFF2-750655FEBE47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26785" y="4076939"/>
            <a:ext cx="543600" cy="543600"/>
          </a:xfrm>
          <a:prstGeom prst="rect">
            <a:avLst/>
          </a:prstGeom>
        </p:spPr>
      </p:pic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8D0EFA60-A028-BE09-FB96-8B102B0D485C}"/>
              </a:ext>
            </a:extLst>
          </p:cNvPr>
          <p:cNvSpPr txBox="1">
            <a:spLocks/>
          </p:cNvSpPr>
          <p:nvPr/>
        </p:nvSpPr>
        <p:spPr>
          <a:xfrm>
            <a:off x="5753239" y="1787614"/>
            <a:ext cx="5613776" cy="223460"/>
          </a:xfrm>
          <a:prstGeom prst="rect">
            <a:avLst/>
          </a:prstGeom>
          <a:noFill/>
          <a:ln>
            <a:noFill/>
          </a:ln>
        </p:spPr>
        <p:txBody>
          <a:bodyPr vert="horz" lIns="0" tIns="18000" rIns="0" bIns="0" rtlCol="0" anchor="t">
            <a:noAutofit/>
          </a:bodyPr>
          <a:lstStyle>
            <a:defPPr>
              <a:defRPr lang="de-DE"/>
            </a:defPPr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43878"/>
              </a:buClr>
              <a:buFont typeface="Arial" panose="020B0604020202020204" pitchFamily="34" charset="0"/>
              <a:buChar char="•"/>
              <a:defRPr sz="1200">
                <a:latin typeface="Segoe UI Semibold" panose="020B0702040204020203" pitchFamily="34" charset="0"/>
                <a:ea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358775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43878"/>
              </a:buClr>
              <a:buFont typeface="Segoe UI" panose="020B0502040204020203" pitchFamily="34" charset="0"/>
              <a:buChar char="–"/>
              <a:defRPr sz="140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539750" indent="-18097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43878"/>
              </a:buClr>
              <a:buFont typeface="Segoe UI" panose="020B0502040204020203" pitchFamily="34" charset="0"/>
              <a:buChar char="–"/>
              <a:defRPr sz="120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200" b="1">
                <a:solidFill>
                  <a:schemeClr val="tx1"/>
                </a:solidFill>
                <a:latin typeface="+mn-lt"/>
              </a:rPr>
              <a:t>Key Metrics</a:t>
            </a:r>
            <a:endParaRPr lang="en-US" sz="1000" b="1">
              <a:solidFill>
                <a:schemeClr val="tx1"/>
              </a:solidFill>
              <a:latin typeface="+mn-lt"/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A9524D12-6299-BA72-D93B-70A189392B6A}"/>
              </a:ext>
            </a:extLst>
          </p:cNvPr>
          <p:cNvCxnSpPr>
            <a:cxnSpLocks/>
          </p:cNvCxnSpPr>
          <p:nvPr/>
        </p:nvCxnSpPr>
        <p:spPr>
          <a:xfrm>
            <a:off x="5753239" y="2003381"/>
            <a:ext cx="3116625" cy="0"/>
          </a:xfrm>
          <a:prstGeom prst="line">
            <a:avLst/>
          </a:prstGeom>
          <a:ln w="9525">
            <a:solidFill>
              <a:schemeClr val="bg2">
                <a:lumMod val="9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7E3348B6-3913-BFEB-8123-496D42F5CE08}"/>
              </a:ext>
            </a:extLst>
          </p:cNvPr>
          <p:cNvCxnSpPr>
            <a:cxnSpLocks/>
          </p:cNvCxnSpPr>
          <p:nvPr/>
        </p:nvCxnSpPr>
        <p:spPr>
          <a:xfrm>
            <a:off x="5753239" y="4105401"/>
            <a:ext cx="3116625" cy="0"/>
          </a:xfrm>
          <a:prstGeom prst="line">
            <a:avLst/>
          </a:prstGeom>
          <a:ln w="9525">
            <a:solidFill>
              <a:schemeClr val="bg2">
                <a:lumMod val="9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732ED7A2-ABD7-8169-484F-2D9A98D0465C}"/>
              </a:ext>
            </a:extLst>
          </p:cNvPr>
          <p:cNvSpPr txBox="1">
            <a:spLocks/>
          </p:cNvSpPr>
          <p:nvPr/>
        </p:nvSpPr>
        <p:spPr>
          <a:xfrm>
            <a:off x="5753239" y="3889633"/>
            <a:ext cx="1866761" cy="215768"/>
          </a:xfrm>
          <a:prstGeom prst="rect">
            <a:avLst/>
          </a:prstGeom>
          <a:noFill/>
          <a:ln>
            <a:noFill/>
          </a:ln>
        </p:spPr>
        <p:txBody>
          <a:bodyPr vert="horz" lIns="0" tIns="18000" rIns="0" bIns="0" rtlCol="0" anchor="t">
            <a:noAutofit/>
          </a:bodyPr>
          <a:lstStyle>
            <a:defPPr>
              <a:defRPr lang="de-DE"/>
            </a:defPPr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43878"/>
              </a:buClr>
              <a:buFont typeface="Arial" panose="020B0604020202020204" pitchFamily="34" charset="0"/>
              <a:buChar char="•"/>
              <a:defRPr sz="1200">
                <a:latin typeface="Segoe UI Semibold" panose="020B0702040204020203" pitchFamily="34" charset="0"/>
                <a:ea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358775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43878"/>
              </a:buClr>
              <a:buFont typeface="Segoe UI" panose="020B0502040204020203" pitchFamily="34" charset="0"/>
              <a:buChar char="–"/>
              <a:defRPr sz="140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539750" indent="-18097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43878"/>
              </a:buClr>
              <a:buFont typeface="Segoe UI" panose="020B0502040204020203" pitchFamily="34" charset="0"/>
              <a:buChar char="–"/>
              <a:defRPr sz="120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b="1">
                <a:solidFill>
                  <a:schemeClr val="tx1"/>
                </a:solidFill>
                <a:latin typeface="+mn-lt"/>
              </a:rPr>
              <a:t>Relevanc</a:t>
            </a:r>
            <a:r>
              <a:rPr lang="en-US" b="1">
                <a:latin typeface="+mn-lt"/>
              </a:rPr>
              <a:t>e of Data</a:t>
            </a:r>
            <a:endParaRPr lang="en-US" b="1">
              <a:solidFill>
                <a:schemeClr val="tx1"/>
              </a:solidFill>
              <a:latin typeface="+mn-lt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7810378-0DB6-8998-37EF-C971BD9E37C7}"/>
              </a:ext>
            </a:extLst>
          </p:cNvPr>
          <p:cNvSpPr txBox="1"/>
          <p:nvPr/>
        </p:nvSpPr>
        <p:spPr>
          <a:xfrm>
            <a:off x="5753239" y="4187488"/>
            <a:ext cx="3116625" cy="982800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>
              <a:buClr>
                <a:schemeClr val="tx1"/>
              </a:buClr>
            </a:pPr>
            <a:r>
              <a:rPr lang="en-GB" sz="1200" b="1" i="0">
                <a:solidFill>
                  <a:srgbClr val="0D0D0D"/>
                </a:solidFill>
                <a:effectLst/>
              </a:rPr>
              <a:t>Global Impact of G20 Nations</a:t>
            </a:r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200" b="0" i="0">
                <a:solidFill>
                  <a:srgbClr val="0D0D0D"/>
                </a:solidFill>
                <a:effectLst/>
              </a:rPr>
              <a:t>G20 countries represent world's major economies</a:t>
            </a:r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200">
                <a:solidFill>
                  <a:srgbClr val="0D0D0D"/>
                </a:solidFill>
              </a:rPr>
              <a:t>E</a:t>
            </a:r>
            <a:r>
              <a:rPr lang="en-GB" sz="1200" b="0" i="0">
                <a:solidFill>
                  <a:srgbClr val="0D0D0D"/>
                </a:solidFill>
                <a:effectLst/>
              </a:rPr>
              <a:t>nvironmental practices have profound impact</a:t>
            </a:r>
            <a:endParaRPr lang="en-GB" sz="1200" i="0" u="none" baseline="0">
              <a:solidFill>
                <a:schemeClr val="tx1"/>
              </a:solidFill>
            </a:endParaRPr>
          </a:p>
          <a:p>
            <a:pPr algn="l" rtl="0" eaLnBrk="1" fontAlgn="auto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endParaRPr lang="en-GB" sz="1200" b="0" i="0" u="none" baseline="0">
              <a:solidFill>
                <a:srgbClr val="000000"/>
              </a:solidFill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02D68F2-5233-6F26-F504-B3E0CC13D582}"/>
              </a:ext>
            </a:extLst>
          </p:cNvPr>
          <p:cNvSpPr txBox="1"/>
          <p:nvPr/>
        </p:nvSpPr>
        <p:spPr>
          <a:xfrm>
            <a:off x="8789137" y="4187488"/>
            <a:ext cx="2994874" cy="982800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>
              <a:buClr>
                <a:schemeClr val="tx1"/>
              </a:buClr>
            </a:pPr>
            <a:r>
              <a:rPr lang="en-GB" sz="1200" b="1" i="0">
                <a:solidFill>
                  <a:srgbClr val="0D0D0D"/>
                </a:solidFill>
                <a:effectLst/>
              </a:rPr>
              <a:t>Climate Change and CO2 Emissions</a:t>
            </a:r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200">
                <a:solidFill>
                  <a:srgbClr val="0D0D0D"/>
                </a:solidFill>
              </a:rPr>
              <a:t>D</a:t>
            </a:r>
            <a:r>
              <a:rPr lang="en-GB" sz="1200" b="0" i="0">
                <a:solidFill>
                  <a:srgbClr val="0D0D0D"/>
                </a:solidFill>
                <a:effectLst/>
              </a:rPr>
              <a:t>ata can help to understand each country's contribution </a:t>
            </a:r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200">
                <a:solidFill>
                  <a:srgbClr val="0D0D0D"/>
                </a:solidFill>
              </a:rPr>
              <a:t>E</a:t>
            </a:r>
            <a:r>
              <a:rPr lang="en-GB" sz="1200" b="0" i="0">
                <a:solidFill>
                  <a:srgbClr val="0D0D0D"/>
                </a:solidFill>
                <a:effectLst/>
              </a:rPr>
              <a:t>nables comparisons between nations and specific metrics</a:t>
            </a:r>
            <a:endParaRPr lang="en-GB" sz="1200" b="0" i="0" u="none" baseline="0">
              <a:solidFill>
                <a:srgbClr val="000000"/>
              </a:solidFill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5CF944F3-EB0E-0B4D-35FD-041879DA8335}"/>
              </a:ext>
            </a:extLst>
          </p:cNvPr>
          <p:cNvSpPr txBox="1"/>
          <p:nvPr/>
        </p:nvSpPr>
        <p:spPr>
          <a:xfrm>
            <a:off x="5753239" y="5385694"/>
            <a:ext cx="2958778" cy="982800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>
              <a:buClr>
                <a:schemeClr val="tx1"/>
              </a:buClr>
            </a:pPr>
            <a:r>
              <a:rPr lang="en-GB" sz="1200" b="1" i="0">
                <a:solidFill>
                  <a:srgbClr val="0D0D0D"/>
                </a:solidFill>
                <a:effectLst/>
              </a:rPr>
              <a:t>Health and Quality of Life</a:t>
            </a:r>
            <a:r>
              <a:rPr lang="en-GB" sz="1200" b="0" i="0">
                <a:solidFill>
                  <a:srgbClr val="0D0D0D"/>
                </a:solidFill>
                <a:effectLst/>
              </a:rPr>
              <a:t> </a:t>
            </a:r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200" b="0" i="0">
                <a:solidFill>
                  <a:srgbClr val="0D0D0D"/>
                </a:solidFill>
                <a:effectLst/>
              </a:rPr>
              <a:t>Certain Metrics are directly related to public health </a:t>
            </a:r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200" b="0" i="0">
                <a:solidFill>
                  <a:srgbClr val="0D0D0D"/>
                </a:solidFill>
                <a:effectLst/>
              </a:rPr>
              <a:t>Data can be used to evaluate quality of life in different</a:t>
            </a:r>
            <a:endParaRPr lang="en-GB" sz="1200" b="0" i="0" u="none" baseline="0">
              <a:solidFill>
                <a:srgbClr val="000000"/>
              </a:solidFill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7B89E85-9AEB-FD2F-BB0F-D5CCD5064E41}"/>
              </a:ext>
            </a:extLst>
          </p:cNvPr>
          <p:cNvSpPr txBox="1"/>
          <p:nvPr/>
        </p:nvSpPr>
        <p:spPr>
          <a:xfrm>
            <a:off x="8789137" y="5385694"/>
            <a:ext cx="2994874" cy="982800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>
              <a:buClr>
                <a:schemeClr val="tx1"/>
              </a:buClr>
            </a:pPr>
            <a:r>
              <a:rPr lang="en-GB" sz="1200" b="1">
                <a:solidFill>
                  <a:srgbClr val="0D0D0D"/>
                </a:solidFill>
              </a:rPr>
              <a:t>Trend analysis to assess progress</a:t>
            </a:r>
          </a:p>
          <a:p>
            <a:pPr marL="171450" indent="-1714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200" i="0">
                <a:solidFill>
                  <a:srgbClr val="0D0D0D"/>
                </a:solidFill>
                <a:effectLst/>
              </a:rPr>
              <a:t>Ana</a:t>
            </a:r>
            <a:r>
              <a:rPr lang="en-GB" sz="1200">
                <a:solidFill>
                  <a:srgbClr val="0D0D0D"/>
                </a:solidFill>
              </a:rPr>
              <a:t>lysis of development for positive (e.g. renewable energy) and negative (e.g. Air Pollution) environmental metrics</a:t>
            </a:r>
          </a:p>
          <a:p>
            <a:pPr marL="171450" indent="-1714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200">
                <a:solidFill>
                  <a:srgbClr val="0D0D0D"/>
                </a:solidFill>
              </a:rPr>
              <a:t>Use of analysis to determine progress</a:t>
            </a:r>
            <a:endParaRPr lang="en-GB" sz="1200" i="0">
              <a:solidFill>
                <a:srgbClr val="0D0D0D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2343369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505BDA1-2F03-B759-E4AB-B1A231773C83}"/>
              </a:ext>
            </a:extLst>
          </p:cNvPr>
          <p:cNvSpPr/>
          <p:nvPr/>
        </p:nvSpPr>
        <p:spPr>
          <a:xfrm>
            <a:off x="9069997" y="1882856"/>
            <a:ext cx="2618900" cy="4413421"/>
          </a:xfrm>
          <a:prstGeom prst="rect">
            <a:avLst/>
          </a:prstGeom>
          <a:solidFill>
            <a:srgbClr val="E6E6E6"/>
          </a:solidFill>
          <a:ln w="190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96000" tIns="360000" rIns="396000" bIns="36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lnSpc>
                <a:spcPct val="15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Detailed outlook on data using various </a:t>
            </a:r>
            <a:r>
              <a:rPr lang="en-US" sz="1200" b="1">
                <a:solidFill>
                  <a:schemeClr val="tx1"/>
                </a:solidFill>
              </a:rPr>
              <a:t>interactive visualizations </a:t>
            </a:r>
            <a:r>
              <a:rPr lang="en-US" sz="1200">
                <a:solidFill>
                  <a:schemeClr val="tx1"/>
                </a:solidFill>
              </a:rPr>
              <a:t>in Power BI</a:t>
            </a:r>
          </a:p>
          <a:p>
            <a:pPr marL="171450" indent="-171450">
              <a:lnSpc>
                <a:spcPct val="15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sz="1200">
              <a:solidFill>
                <a:schemeClr val="tx1"/>
              </a:solidFill>
            </a:endParaRPr>
          </a:p>
          <a:p>
            <a:pPr marL="171450" indent="-171450">
              <a:lnSpc>
                <a:spcPct val="15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Comparison of</a:t>
            </a:r>
            <a:r>
              <a:rPr lang="en-US" sz="1200" b="1">
                <a:solidFill>
                  <a:schemeClr val="tx1"/>
                </a:solidFill>
              </a:rPr>
              <a:t> G20 countries </a:t>
            </a:r>
            <a:r>
              <a:rPr lang="en-US" sz="1200">
                <a:solidFill>
                  <a:schemeClr val="tx1"/>
                </a:solidFill>
              </a:rPr>
              <a:t>with metrics shown in introductio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0D72E68-B85C-4569-F248-6AEEF476F6BD}"/>
              </a:ext>
            </a:extLst>
          </p:cNvPr>
          <p:cNvSpPr/>
          <p:nvPr/>
        </p:nvSpPr>
        <p:spPr>
          <a:xfrm>
            <a:off x="9251829" y="1763685"/>
            <a:ext cx="2437068" cy="415388"/>
          </a:xfrm>
          <a:prstGeom prst="rect">
            <a:avLst/>
          </a:prstGeom>
          <a:solidFill>
            <a:srgbClr val="A4D67D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200" b="1" i="0" u="none" baseline="0">
                <a:solidFill>
                  <a:schemeClr val="tx1"/>
                </a:solidFill>
                <a:latin typeface="Segoe UI" panose="020B0502040204020203" pitchFamily="34" charset="0"/>
              </a:rPr>
              <a:t>Data </a:t>
            </a:r>
            <a:r>
              <a:rPr lang="de-DE" sz="1200" b="1" i="0" u="none" baseline="0" err="1">
                <a:solidFill>
                  <a:schemeClr val="tx1"/>
                </a:solidFill>
                <a:latin typeface="Segoe UI" panose="020B0502040204020203" pitchFamily="34" charset="0"/>
              </a:rPr>
              <a:t>Visualization</a:t>
            </a:r>
            <a:endParaRPr lang="de-DE" sz="1200" b="1" i="0" u="none" baseline="0">
              <a:solidFill>
                <a:schemeClr val="tx1"/>
              </a:solidFill>
              <a:latin typeface="Segoe UI" panose="020B0502040204020203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890D100B-C8FD-38F5-D2CF-4DDC975FFA81}"/>
              </a:ext>
            </a:extLst>
          </p:cNvPr>
          <p:cNvSpPr/>
          <p:nvPr/>
        </p:nvSpPr>
        <p:spPr>
          <a:xfrm>
            <a:off x="9069996" y="1763685"/>
            <a:ext cx="414000" cy="415388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400" b="0" i="0" u="none" baseline="0">
              <a:solidFill>
                <a:srgbClr val="000000"/>
              </a:solidFill>
              <a:latin typeface="Segoe UI" panose="020B0502040204020203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1374A8CC-6938-2639-86C0-8AC95B4FD8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/>
              <a:t>Creation of an interactive report on G20 energy and sustainability data using PowerBI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369061D-B89C-1F9E-69F7-4A5BEA144B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8B9C6A3-4A60-B04A-9C4F-60D1506C799A}" type="slidenum">
              <a:rPr lang="en-DE" smtClean="0"/>
              <a:t>3</a:t>
            </a:fld>
            <a:endParaRPr lang="en-DE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086EEA7-B14E-C540-30CD-D037C03841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7366" y="1284306"/>
            <a:ext cx="11376645" cy="288000"/>
          </a:xfrm>
        </p:spPr>
        <p:txBody>
          <a:bodyPr/>
          <a:lstStyle/>
          <a:p>
            <a:r>
              <a:rPr lang="en-DE">
                <a:latin typeface="+mn-lt"/>
                <a:cs typeface="Segoe UI" panose="020B0502040204020203" pitchFamily="34" charset="0"/>
              </a:rPr>
              <a:t>Data Visualization using PowerBI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AA4CEF8-2395-ACBE-2DB8-54232815C1AD}"/>
              </a:ext>
            </a:extLst>
          </p:cNvPr>
          <p:cNvSpPr txBox="1"/>
          <p:nvPr/>
        </p:nvSpPr>
        <p:spPr>
          <a:xfrm>
            <a:off x="457200" y="108284"/>
            <a:ext cx="0" cy="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endParaRPr lang="en-DE" sz="1400" b="0" i="0" u="none" baseline="0">
              <a:solidFill>
                <a:srgbClr val="000000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4" name="Graphic 13" descr="Illustrator outline">
            <a:extLst>
              <a:ext uri="{FF2B5EF4-FFF2-40B4-BE49-F238E27FC236}">
                <a16:creationId xmlns:a16="http://schemas.microsoft.com/office/drawing/2014/main" id="{6838CAC6-E889-B196-5595-E0ED133E4CA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161796" y="1856179"/>
            <a:ext cx="230400" cy="230400"/>
          </a:xfrm>
          <a:prstGeom prst="rect">
            <a:avLst/>
          </a:prstGeom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673CF2E8-6935-410B-CADE-ABCAB32927E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0" t="2627" r="40420" b="40606"/>
          <a:stretch/>
        </p:blipFill>
        <p:spPr bwMode="auto">
          <a:xfrm>
            <a:off x="654161" y="1708046"/>
            <a:ext cx="8091394" cy="46157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751250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1374A8CC-6938-2639-86C0-8AC95B4FD8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Reflecting on the Data: Insights and Implications from G20 Environmental Metrics</a:t>
            </a:r>
            <a:endParaRPr lang="en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369061D-B89C-1F9E-69F7-4A5BEA144B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8B9C6A3-4A60-B04A-9C4F-60D1506C799A}" type="slidenum">
              <a:rPr lang="en-DE" smtClean="0"/>
              <a:t>4</a:t>
            </a:fld>
            <a:endParaRPr lang="en-DE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086EEA7-B14E-C540-30CD-D037C03841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DE">
                <a:latin typeface="Segoe UI" panose="020B0502040204020203" pitchFamily="34" charset="0"/>
                <a:cs typeface="Segoe UI" panose="020B0502040204020203" pitchFamily="34" charset="0"/>
              </a:rPr>
              <a:t>Conclus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AA4CEF8-2395-ACBE-2DB8-54232815C1AD}"/>
              </a:ext>
            </a:extLst>
          </p:cNvPr>
          <p:cNvSpPr txBox="1"/>
          <p:nvPr/>
        </p:nvSpPr>
        <p:spPr>
          <a:xfrm>
            <a:off x="457200" y="108284"/>
            <a:ext cx="0" cy="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endParaRPr lang="en-DE" sz="1400" b="0" i="0" u="none" baseline="0">
              <a:solidFill>
                <a:srgbClr val="000000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8AEB4E8-E89B-49EE-480A-7AD7DF6A551A}"/>
              </a:ext>
            </a:extLst>
          </p:cNvPr>
          <p:cNvSpPr txBox="1"/>
          <p:nvPr/>
        </p:nvSpPr>
        <p:spPr>
          <a:xfrm>
            <a:off x="641268" y="6531429"/>
            <a:ext cx="0" cy="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endParaRPr lang="en-DE" sz="1400" b="0" i="0" u="none" baseline="0">
              <a:solidFill>
                <a:srgbClr val="000000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4B91148-E244-0182-BCDA-849D75141EA4}"/>
              </a:ext>
            </a:extLst>
          </p:cNvPr>
          <p:cNvSpPr txBox="1"/>
          <p:nvPr/>
        </p:nvSpPr>
        <p:spPr>
          <a:xfrm>
            <a:off x="8670471" y="2857500"/>
            <a:ext cx="0" cy="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endParaRPr lang="en-DE" sz="1400" b="0" i="0" u="none" baseline="0">
              <a:solidFill>
                <a:srgbClr val="000000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8D36DC7-6E6E-69EF-7F93-FAD2C27FF435}"/>
              </a:ext>
            </a:extLst>
          </p:cNvPr>
          <p:cNvSpPr txBox="1"/>
          <p:nvPr/>
        </p:nvSpPr>
        <p:spPr>
          <a:xfrm>
            <a:off x="8180614" y="4604657"/>
            <a:ext cx="0" cy="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endParaRPr lang="en-DE" sz="1400" b="0" i="0" u="none" baseline="0">
              <a:solidFill>
                <a:srgbClr val="000000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CF3A05B-16B7-191C-5A68-AA06C3344142}"/>
              </a:ext>
            </a:extLst>
          </p:cNvPr>
          <p:cNvSpPr txBox="1"/>
          <p:nvPr/>
        </p:nvSpPr>
        <p:spPr>
          <a:xfrm>
            <a:off x="8882743" y="3853543"/>
            <a:ext cx="0" cy="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endParaRPr lang="en-DE" sz="1400" b="0" i="0" u="none" baseline="0">
              <a:solidFill>
                <a:srgbClr val="000000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29AF35A-FF0D-E267-8FD5-3FEDAAA886CB}"/>
              </a:ext>
            </a:extLst>
          </p:cNvPr>
          <p:cNvSpPr txBox="1"/>
          <p:nvPr/>
        </p:nvSpPr>
        <p:spPr>
          <a:xfrm>
            <a:off x="8866414" y="4082143"/>
            <a:ext cx="0" cy="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endParaRPr lang="en-DE" sz="1400" b="0" i="0" u="none" baseline="0">
              <a:solidFill>
                <a:srgbClr val="000000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aphicFrame>
        <p:nvGraphicFramePr>
          <p:cNvPr id="15" name="Diagram 14">
            <a:extLst>
              <a:ext uri="{FF2B5EF4-FFF2-40B4-BE49-F238E27FC236}">
                <a16:creationId xmlns:a16="http://schemas.microsoft.com/office/drawing/2014/main" id="{424CAF1F-C200-8662-A901-03C95CF4F98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81487"/>
              </p:ext>
            </p:extLst>
          </p:nvPr>
        </p:nvGraphicFramePr>
        <p:xfrm>
          <a:off x="3866044" y="2227334"/>
          <a:ext cx="4459289" cy="323321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D5382E-52CE-017D-DE4F-55DCDA26875C}"/>
              </a:ext>
            </a:extLst>
          </p:cNvPr>
          <p:cNvCxnSpPr>
            <a:cxnSpLocks/>
          </p:cNvCxnSpPr>
          <p:nvPr/>
        </p:nvCxnSpPr>
        <p:spPr>
          <a:xfrm flipH="1">
            <a:off x="7620000" y="3852271"/>
            <a:ext cx="4164011" cy="0"/>
          </a:xfrm>
          <a:prstGeom prst="line">
            <a:avLst/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C2C15FD6-AA4B-453D-B8AD-AFF48641C474}"/>
              </a:ext>
            </a:extLst>
          </p:cNvPr>
          <p:cNvSpPr txBox="1"/>
          <p:nvPr/>
        </p:nvSpPr>
        <p:spPr>
          <a:xfrm>
            <a:off x="407366" y="2040319"/>
            <a:ext cx="3732834" cy="138499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buClr>
                <a:schemeClr val="tx1"/>
              </a:buClr>
            </a:pPr>
            <a:r>
              <a:rPr lang="en-GB" sz="1200" b="1"/>
              <a:t>CO</a:t>
            </a:r>
            <a:r>
              <a:rPr lang="en-GB" sz="1200" b="1" baseline="-25000"/>
              <a:t>2 </a:t>
            </a:r>
            <a:r>
              <a:rPr lang="en-GB" sz="1200" b="1"/>
              <a:t>emission development</a:t>
            </a:r>
          </a:p>
          <a:p>
            <a:pPr marL="171450" indent="-1714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200"/>
              <a:t>Stagnant per capita emissions since 1990 in G20 states: 144 metric tonnes per capita in 1990 – 148 metric tonnes per capita in 2019</a:t>
            </a:r>
            <a:endParaRPr lang="en-GB" sz="1200">
              <a:cs typeface="Segoe UI"/>
            </a:endParaRPr>
          </a:p>
          <a:p>
            <a:pPr>
              <a:buClr>
                <a:schemeClr val="tx1"/>
              </a:buClr>
            </a:pPr>
            <a:r>
              <a:rPr lang="en-GB" sz="1200" b="1"/>
              <a:t>Energy consumption development</a:t>
            </a:r>
            <a:endParaRPr lang="en-GB" sz="1200" b="1">
              <a:cs typeface="Segoe UI"/>
            </a:endParaRPr>
          </a:p>
          <a:p>
            <a:pPr marL="171450" indent="-1714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200"/>
              <a:t>Slight rise in energy consumption since 1990, increase of 12% until 2015 </a:t>
            </a:r>
            <a:endParaRPr lang="en-GB" sz="1200">
              <a:cs typeface="Segoe UI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2C6FC7F-AAA1-BF7C-1310-6698FD3BAB02}"/>
              </a:ext>
            </a:extLst>
          </p:cNvPr>
          <p:cNvSpPr txBox="1"/>
          <p:nvPr/>
        </p:nvSpPr>
        <p:spPr>
          <a:xfrm>
            <a:off x="8051176" y="2040319"/>
            <a:ext cx="3732834" cy="120032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GB" sz="1200" b="1">
                <a:solidFill>
                  <a:srgbClr val="232321"/>
                </a:solidFill>
                <a:effectLst/>
                <a:highlight>
                  <a:srgbClr val="FFFFFF"/>
                </a:highlight>
                <a:latin typeface="Segoe UI"/>
                <a:cs typeface="Segoe UI"/>
              </a:rPr>
              <a:t>OECD Objectives</a:t>
            </a:r>
            <a:endParaRPr lang="en-GB" sz="1200" b="1">
              <a:effectLst/>
              <a:highlight>
                <a:srgbClr val="FFFFFF"/>
              </a:highlight>
              <a:latin typeface="Segoe UI"/>
              <a:cs typeface="Segoe UI"/>
            </a:endParaRPr>
          </a:p>
          <a:p>
            <a:pPr marL="171450" indent="-1714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200" i="0">
                <a:solidFill>
                  <a:srgbClr val="0D0D0D"/>
                </a:solidFill>
                <a:effectLst/>
                <a:latin typeface="Segoe UI"/>
                <a:cs typeface="Segoe UI"/>
              </a:rPr>
              <a:t>The 2020 </a:t>
            </a:r>
            <a:r>
              <a:rPr lang="en-GB" sz="1200">
                <a:solidFill>
                  <a:srgbClr val="232321"/>
                </a:solidFill>
                <a:effectLst/>
                <a:highlight>
                  <a:srgbClr val="FFFFFF"/>
                </a:highlight>
                <a:latin typeface="Segoe UI"/>
                <a:cs typeface="Segoe UI"/>
              </a:rPr>
              <a:t>OECD Renewable Energy Consumption Objective have not been </a:t>
            </a:r>
            <a:r>
              <a:rPr lang="en-GB" sz="1200">
                <a:effectLst/>
                <a:highlight>
                  <a:srgbClr val="FFFFFF"/>
                </a:highlight>
                <a:latin typeface="Segoe UI"/>
                <a:cs typeface="Segoe UI"/>
              </a:rPr>
              <a:t>accomplished</a:t>
            </a:r>
          </a:p>
          <a:p>
            <a:pPr>
              <a:buClr>
                <a:schemeClr val="tx1"/>
              </a:buClr>
            </a:pPr>
            <a:r>
              <a:rPr lang="en-GB" sz="1200" b="1">
                <a:highlight>
                  <a:srgbClr val="FFFFFF"/>
                </a:highlight>
                <a:latin typeface="Segoe UI"/>
                <a:cs typeface="Segoe UI"/>
              </a:rPr>
              <a:t>Renewable energy Consumption</a:t>
            </a:r>
            <a:endParaRPr lang="en-GB" sz="1200" b="1">
              <a:effectLst/>
              <a:highlight>
                <a:srgbClr val="FFFFFF"/>
              </a:highlight>
              <a:latin typeface="Segoe UI"/>
              <a:cs typeface="Segoe UI"/>
            </a:endParaRPr>
          </a:p>
          <a:p>
            <a:pPr marL="171450" indent="-1714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200" i="0">
                <a:solidFill>
                  <a:srgbClr val="0D0D0D"/>
                </a:solidFill>
                <a:effectLst/>
                <a:latin typeface="Segoe UI"/>
                <a:cs typeface="Segoe UI"/>
              </a:rPr>
              <a:t>Percentage of Renewable energy consumption has decreased since 1990 for most coun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E48AD2E-3827-98FF-ABF8-5FF62608A5C7}"/>
              </a:ext>
            </a:extLst>
          </p:cNvPr>
          <p:cNvSpPr txBox="1"/>
          <p:nvPr/>
        </p:nvSpPr>
        <p:spPr>
          <a:xfrm>
            <a:off x="407366" y="4102337"/>
            <a:ext cx="3732834" cy="175432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buClr>
                <a:schemeClr val="tx1"/>
              </a:buClr>
            </a:pPr>
            <a:r>
              <a:rPr lang="en-GB" sz="1200" b="1">
                <a:cs typeface="Segoe UI"/>
              </a:rPr>
              <a:t>Emissions per capita vs. Totals</a:t>
            </a:r>
          </a:p>
          <a:p>
            <a:pPr marL="171450" indent="-171450">
              <a:buFont typeface="Arial"/>
              <a:buChar char="•"/>
            </a:pPr>
            <a:r>
              <a:rPr lang="en-GB" sz="1200">
                <a:cs typeface="Segoe UI"/>
              </a:rPr>
              <a:t>Developed countries account for higher per capita emissions, emerging nations have overall higher emissions </a:t>
            </a:r>
            <a:r>
              <a:rPr lang="en-GB" sz="1200">
                <a:cs typeface="Segoe UI"/>
                <a:sym typeface="Wingdings" pitchFamily="2" charset="2"/>
              </a:rPr>
              <a:t></a:t>
            </a:r>
            <a:r>
              <a:rPr lang="en-GB" sz="1200">
                <a:cs typeface="Segoe UI"/>
              </a:rPr>
              <a:t> need for targeted climate action</a:t>
            </a:r>
            <a:endParaRPr lang="en-GB" sz="1200" b="1">
              <a:cs typeface="Segoe UI"/>
            </a:endParaRPr>
          </a:p>
          <a:p>
            <a:r>
              <a:rPr lang="en-GB" sz="1200" b="1">
                <a:cs typeface="Segoe UI"/>
              </a:rPr>
              <a:t>Pollution</a:t>
            </a:r>
            <a:endParaRPr lang="en-GB" sz="1200">
              <a:cs typeface="Segoe UI"/>
            </a:endParaRPr>
          </a:p>
          <a:p>
            <a:pPr marL="171450" indent="-171450">
              <a:buFont typeface="Arial"/>
              <a:buChar char="•"/>
            </a:pPr>
            <a:r>
              <a:rPr lang="en-GB" sz="1200">
                <a:cs typeface="Segoe UI"/>
              </a:rPr>
              <a:t>Emerging G20 countries have higher pollution rates compared to developed countries</a:t>
            </a:r>
            <a:endParaRPr lang="en-GB" sz="1200" b="1">
              <a:cs typeface="Segoe UI"/>
            </a:endParaRPr>
          </a:p>
          <a:p>
            <a:pPr marL="171450" indent="-171450">
              <a:buFont typeface="Arial"/>
              <a:buChar char="•"/>
            </a:pPr>
            <a:endParaRPr lang="en-GB" sz="1200" b="1">
              <a:cs typeface="Segoe UI"/>
            </a:endParaRPr>
          </a:p>
          <a:p>
            <a:pPr marL="171450" indent="-171450">
              <a:buFont typeface="Arial"/>
              <a:buChar char="•"/>
            </a:pPr>
            <a:endParaRPr lang="en-GB" sz="1200">
              <a:cs typeface="Segoe UI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E5E759F-9A0C-DBD7-49D6-B97506CA7C6D}"/>
              </a:ext>
            </a:extLst>
          </p:cNvPr>
          <p:cNvSpPr txBox="1"/>
          <p:nvPr/>
        </p:nvSpPr>
        <p:spPr>
          <a:xfrm>
            <a:off x="8051176" y="4103962"/>
            <a:ext cx="3732835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buClr>
                <a:schemeClr val="tx1"/>
              </a:buClr>
            </a:pPr>
            <a:r>
              <a:rPr lang="en-GB" sz="1200" b="1"/>
              <a:t>Land Surface Temperature</a:t>
            </a:r>
          </a:p>
          <a:p>
            <a:pPr marL="285750" lvl="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200"/>
              <a:t>Countries with extreme average temperatures are more dependent on energy use.</a:t>
            </a:r>
          </a:p>
          <a:p>
            <a:pPr>
              <a:buClr>
                <a:schemeClr val="tx1"/>
              </a:buClr>
            </a:pPr>
            <a:r>
              <a:rPr lang="en-GB" sz="1200" b="1"/>
              <a:t>Air Pollution in relation to other factors</a:t>
            </a:r>
          </a:p>
          <a:p>
            <a:pPr marL="285750" lvl="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200"/>
              <a:t>Circumstances like forest area and population density have notable influences on air quality.</a:t>
            </a:r>
          </a:p>
          <a:p>
            <a:pPr marL="285750" lvl="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GB" sz="1200"/>
          </a:p>
          <a:p>
            <a:pPr lvl="0">
              <a:buClr>
                <a:schemeClr val="tx1"/>
              </a:buClr>
            </a:pPr>
            <a:endParaRPr lang="en-GB" sz="1200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933599E7-B940-DAC6-E15E-573B1313C0BF}"/>
              </a:ext>
            </a:extLst>
          </p:cNvPr>
          <p:cNvCxnSpPr>
            <a:cxnSpLocks/>
          </p:cNvCxnSpPr>
          <p:nvPr/>
        </p:nvCxnSpPr>
        <p:spPr>
          <a:xfrm flipH="1">
            <a:off x="407366" y="3835413"/>
            <a:ext cx="4164011" cy="0"/>
          </a:xfrm>
          <a:prstGeom prst="line">
            <a:avLst/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426037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D75F2C-7319-C9D8-7507-357548C157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BB8A718B-8DDB-5645-8E75-D1FE26901B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Sources</a:t>
            </a:r>
            <a:endParaRPr lang="en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FA2499-300C-4FCB-0D32-C81A160341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8B9C6A3-4A60-B04A-9C4F-60D1506C799A}" type="slidenum">
              <a:rPr lang="en-DE" smtClean="0"/>
              <a:t>5</a:t>
            </a:fld>
            <a:endParaRPr lang="en-DE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27132B3-9E28-2482-40F3-077435E483E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7366" y="1362040"/>
            <a:ext cx="11376645" cy="1401708"/>
          </a:xfrm>
        </p:spPr>
        <p:txBody>
          <a:bodyPr/>
          <a:lstStyle/>
          <a:p>
            <a:r>
              <a:rPr lang="en-GB">
                <a:latin typeface="Segoe UI" panose="020B0502040204020203" pitchFamily="34" charset="0"/>
                <a:cs typeface="Segoe UI" panose="020B0502040204020203" pitchFamily="34" charset="0"/>
              </a:rPr>
              <a:t>World Bank. (2024). Carbon Emissions Statistics [Data set]. World Bank. </a:t>
            </a:r>
            <a:r>
              <a:rPr lang="en-GB">
                <a:latin typeface="Segoe UI" panose="020B0502040204020203" pitchFamily="34" charset="0"/>
                <a:cs typeface="Segoe UI" panose="020B0502040204020203" pitchFamily="34" charset="0"/>
                <a:hlinkClick r:id="rId2"/>
              </a:rPr>
              <a:t>https://data.worldbank.org/indicator/EN.ATM.CO2E.KT?locations=AR-AU-BR-CA-FR-DE-CN-IN-ID-IT-JP-KR-MX-RU-SA-ZA-TR-US-GB</a:t>
            </a:r>
            <a:endParaRPr lang="en-GB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en-GB">
                <a:latin typeface="Segoe UI" panose="020B0502040204020203" pitchFamily="34" charset="0"/>
                <a:cs typeface="Segoe UI" panose="020B0502040204020203" pitchFamily="34" charset="0"/>
              </a:rPr>
              <a:t>World Bank. (2024). Environmental Social and Governance (ESG) Data [Data set]. World Bank. </a:t>
            </a:r>
            <a:r>
              <a:rPr lang="en-GB">
                <a:latin typeface="Segoe UI" panose="020B0502040204020203" pitchFamily="34" charset="0"/>
                <a:cs typeface="Segoe UI" panose="020B0502040204020203" pitchFamily="34" charset="0"/>
                <a:hlinkClick r:id="rId3"/>
              </a:rPr>
              <a:t>https://databank.worldbank.org/source/environment-social-and-governance-(esg)-data#</a:t>
            </a:r>
            <a:endParaRPr lang="en-GB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en-GB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E097C92-6901-5EDC-0CD4-F229C72519D9}"/>
              </a:ext>
            </a:extLst>
          </p:cNvPr>
          <p:cNvSpPr txBox="1"/>
          <p:nvPr/>
        </p:nvSpPr>
        <p:spPr>
          <a:xfrm>
            <a:off x="457200" y="108284"/>
            <a:ext cx="0" cy="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endParaRPr lang="en-DE" sz="1400" b="0" i="0" u="none" baseline="0">
              <a:solidFill>
                <a:srgbClr val="000000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DC3418D-92E1-74AC-44A3-4ADE45FD5626}"/>
              </a:ext>
            </a:extLst>
          </p:cNvPr>
          <p:cNvSpPr txBox="1"/>
          <p:nvPr/>
        </p:nvSpPr>
        <p:spPr>
          <a:xfrm>
            <a:off x="641268" y="6531429"/>
            <a:ext cx="0" cy="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endParaRPr lang="en-DE" sz="1400" b="0" i="0" u="none" baseline="0">
              <a:solidFill>
                <a:srgbClr val="000000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E117F6D-FA94-7E3D-638C-FD5E908DFC91}"/>
              </a:ext>
            </a:extLst>
          </p:cNvPr>
          <p:cNvSpPr txBox="1"/>
          <p:nvPr/>
        </p:nvSpPr>
        <p:spPr>
          <a:xfrm>
            <a:off x="8670471" y="2857500"/>
            <a:ext cx="0" cy="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endParaRPr lang="en-DE" sz="1400" b="0" i="0" u="none" baseline="0">
              <a:solidFill>
                <a:srgbClr val="000000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BF40219-00E5-F232-9608-34F3B2D2D66A}"/>
              </a:ext>
            </a:extLst>
          </p:cNvPr>
          <p:cNvSpPr txBox="1"/>
          <p:nvPr/>
        </p:nvSpPr>
        <p:spPr>
          <a:xfrm>
            <a:off x="8180614" y="4604657"/>
            <a:ext cx="0" cy="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endParaRPr lang="en-DE" sz="1400" b="0" i="0" u="none" baseline="0">
              <a:solidFill>
                <a:srgbClr val="000000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D92184D-E761-3769-23EE-F9B6581A1D51}"/>
              </a:ext>
            </a:extLst>
          </p:cNvPr>
          <p:cNvSpPr txBox="1"/>
          <p:nvPr/>
        </p:nvSpPr>
        <p:spPr>
          <a:xfrm>
            <a:off x="8882743" y="3853543"/>
            <a:ext cx="0" cy="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endParaRPr lang="en-DE" sz="1400" b="0" i="0" u="none" baseline="0">
              <a:solidFill>
                <a:srgbClr val="000000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DA20BE3-C109-87B8-C2A4-89865FF394C9}"/>
              </a:ext>
            </a:extLst>
          </p:cNvPr>
          <p:cNvSpPr txBox="1"/>
          <p:nvPr/>
        </p:nvSpPr>
        <p:spPr>
          <a:xfrm>
            <a:off x="8866414" y="4082143"/>
            <a:ext cx="0" cy="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endParaRPr lang="en-DE" sz="1400" b="0" i="0" u="none" baseline="0">
              <a:solidFill>
                <a:srgbClr val="000000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66980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DXCKkVJupALVLG714C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2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16"/>
  <p:tag name="MIO_HDS" val="True"/>
  <p:tag name="MIO_SKIPVERSION" val="01.01.0001 00:00:00"/>
  <p:tag name="MIO_EKGUID" val="7a80067e-fea5-46ba-8daf-ca9d796f756e"/>
  <p:tag name="MIO_UPDATE" val="True"/>
  <p:tag name="MIO_VERSION" val="20.07.2020 15:34:44"/>
  <p:tag name="MIO_DBID" val="93CE0FBA-B3BB-4E1E-BBB6-A9A62221D87F"/>
  <p:tag name="MIO_LASTDOWNLOADED" val="27.07.2020 23:53:49"/>
  <p:tag name="MIO_OBJECTNAME" val="Master New PowerPoint Design"/>
  <p:tag name="MIO_LASTEDITORNAME" val="Jörn Presterl"/>
  <p:tag name="MIO_CDID" val="a57d2506-af1e-4535-bb61-468e17fa12a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GONQT41jfpyTsvgEQRyHQ"/>
</p:tagLst>
</file>

<file path=ppt/theme/theme1.xml><?xml version="1.0" encoding="utf-8"?>
<a:theme xmlns:a="http://schemas.openxmlformats.org/drawingml/2006/main" name="2_zeb 2020_V1.00">
  <a:themeElements>
    <a:clrScheme name="zeb 2020">
      <a:dk1>
        <a:srgbClr val="000000"/>
      </a:dk1>
      <a:lt1>
        <a:srgbClr val="FFFFFF"/>
      </a:lt1>
      <a:dk2>
        <a:srgbClr val="009EE3"/>
      </a:dk2>
      <a:lt2>
        <a:srgbClr val="E3E3E3"/>
      </a:lt2>
      <a:accent1>
        <a:srgbClr val="002A48"/>
      </a:accent1>
      <a:accent2>
        <a:srgbClr val="DFF2FD"/>
      </a:accent2>
      <a:accent3>
        <a:srgbClr val="FFED00"/>
      </a:accent3>
      <a:accent4>
        <a:srgbClr val="F07D24"/>
      </a:accent4>
      <a:accent5>
        <a:srgbClr val="E83162"/>
      </a:accent5>
      <a:accent6>
        <a:srgbClr val="7DB91E"/>
      </a:accent6>
      <a:hlink>
        <a:srgbClr val="009EE3"/>
      </a:hlink>
      <a:folHlink>
        <a:srgbClr val="009EE3"/>
      </a:folHlink>
    </a:clrScheme>
    <a:fontScheme name="Segoe UI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19050">
          <a:solidFill>
            <a:schemeClr val="tx2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400" b="0" i="0" u="none" baseline="0" dirty="0" smtClean="0">
            <a:solidFill>
              <a:srgbClr val="000000"/>
            </a:solidFill>
            <a:latin typeface="Segoe UI" panose="020B0502040204020203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no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buClr>
            <a:schemeClr val="tx2"/>
          </a:buClr>
          <a:defRPr sz="1400" b="0" i="0" u="none" baseline="0" dirty="0" smtClean="0">
            <a:solidFill>
              <a:srgbClr val="000000"/>
            </a:solidFill>
            <a:latin typeface="Segoe UI" panose="020B0502040204020203" pitchFamily="34" charset="0"/>
            <a:ea typeface="Segoe UI" panose="020B0502040204020203" pitchFamily="34" charset="0"/>
            <a:cs typeface="Segoe UI" panose="020B050204020402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3DBC95DBF872840826D91486D07AC5F" ma:contentTypeVersion="10" ma:contentTypeDescription="Ein neues Dokument erstellen." ma:contentTypeScope="" ma:versionID="9dfde97c8d2eee43c020c85bfd430a94">
  <xsd:schema xmlns:xsd="http://www.w3.org/2001/XMLSchema" xmlns:xs="http://www.w3.org/2001/XMLSchema" xmlns:p="http://schemas.microsoft.com/office/2006/metadata/properties" xmlns:ns2="5291da92-475b-41a0-b450-413830beff9e" xmlns:ns3="a2f48188-f115-4479-88ba-9aa72b4536d9" targetNamespace="http://schemas.microsoft.com/office/2006/metadata/properties" ma:root="true" ma:fieldsID="1232326543bcc0969fe0c8093b5ec1a2" ns2:_="" ns3:_="">
    <xsd:import namespace="5291da92-475b-41a0-b450-413830beff9e"/>
    <xsd:import namespace="a2f48188-f115-4479-88ba-9aa72b4536d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291da92-475b-41a0-b450-413830beff9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2" nillable="true" ma:taxonomy="true" ma:internalName="lcf76f155ced4ddcb4097134ff3c332f" ma:taxonomyFieldName="MediaServiceImageTags" ma:displayName="Bildmarkierungen" ma:readOnly="false" ma:fieldId="{5cf76f15-5ced-4ddc-b409-7134ff3c332f}" ma:taxonomyMulti="true" ma:sspId="c6159e26-e387-4955-8c38-302e604e49c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17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2f48188-f115-4479-88ba-9aa72b4536d9" elementFormDefault="qualified">
    <xsd:import namespace="http://schemas.microsoft.com/office/2006/documentManagement/types"/>
    <xsd:import namespace="http://schemas.microsoft.com/office/infopath/2007/PartnerControls"/>
    <xsd:element name="TaxCatchAll" ma:index="13" nillable="true" ma:displayName="Taxonomy Catch All Column" ma:hidden="true" ma:list="{49470d8a-8549-418c-b11c-dc7046ca4555}" ma:internalName="TaxCatchAll" ma:showField="CatchAllData" ma:web="a2f48188-f115-4479-88ba-9aa72b4536d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a2f48188-f115-4479-88ba-9aa72b4536d9" xsi:nil="true"/>
    <lcf76f155ced4ddcb4097134ff3c332f xmlns="5291da92-475b-41a0-b450-413830beff9e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92B81F5-D4F6-44E0-A4A6-DC1B35B372B1}">
  <ds:schemaRefs>
    <ds:schemaRef ds:uri="5291da92-475b-41a0-b450-413830beff9e"/>
    <ds:schemaRef ds:uri="a2f48188-f115-4479-88ba-9aa72b4536d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5C0171C4-024D-46CC-A75B-9A6C54223C95}">
  <ds:schemaRefs>
    <ds:schemaRef ds:uri="5291da92-475b-41a0-b450-413830beff9e"/>
    <ds:schemaRef ds:uri="a2f48188-f115-4479-88ba-9aa72b4536d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3EE2B9A4-D78B-44BB-9D07-19A484ECD4E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Application>Microsoft Office PowerPoint</Application>
  <PresentationFormat>Widescreen</PresentationFormat>
  <Slides>5</Slides>
  <Notes>2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6" baseType="lpstr">
      <vt:lpstr>2_zeb 2020_V1.00</vt:lpstr>
      <vt:lpstr>G20 Energy and Sustainability Report</vt:lpstr>
      <vt:lpstr>Assessing the Environmental Footprint: A Deep Dive into G20 Nations' Sustainability Metrics</vt:lpstr>
      <vt:lpstr>Creation of an interactive report on G20 energy and sustainability data using PowerBI</vt:lpstr>
      <vt:lpstr>Reflecting on the Data: Insights and Implications from G20 Environmental Metrics</vt:lpstr>
      <vt:lpstr>Sourc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asse Willen</dc:creator>
  <cp:revision>1</cp:revision>
  <dcterms:created xsi:type="dcterms:W3CDTF">2024-03-19T14:31:23Z</dcterms:created>
  <dcterms:modified xsi:type="dcterms:W3CDTF">2024-03-21T13:58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3DBC95DBF872840826D91486D07AC5F</vt:lpwstr>
  </property>
  <property fmtid="{D5CDD505-2E9C-101B-9397-08002B2CF9AE}" pid="3" name="MediaServiceImageTags">
    <vt:lpwstr/>
  </property>
</Properties>
</file>